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9.xml" ContentType="application/vnd.openxmlformats-officedocument.theme+xml"/>
  <Override PartName="/ppt/tags/tag21.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0.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2.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3.xml" ContentType="application/vnd.openxmlformats-officedocument.theme+xml"/>
  <Override PartName="/ppt/tags/tag24.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5.xml" ContentType="application/vnd.openxmlformats-officedocument.theme+xml"/>
  <Override PartName="/ppt/tags/tag27.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6.xml" ContentType="application/vnd.openxmlformats-officedocument.theme+xml"/>
  <Override PartName="/ppt/tags/tag28.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7.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18.xml" ContentType="application/vnd.openxmlformats-officedocument.theme+xml"/>
  <Override PartName="/ppt/tags/tag34.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9.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20.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21.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14" r:id="rId5"/>
    <p:sldMasterId id="2147483732" r:id="rId6"/>
    <p:sldMasterId id="2147483751" r:id="rId7"/>
    <p:sldMasterId id="2147483772" r:id="rId8"/>
    <p:sldMasterId id="2147483792" r:id="rId9"/>
    <p:sldMasterId id="2147483815" r:id="rId10"/>
    <p:sldMasterId id="2147483837" r:id="rId11"/>
    <p:sldMasterId id="2147483856" r:id="rId12"/>
    <p:sldMasterId id="2147483879" r:id="rId13"/>
    <p:sldMasterId id="2147483921" r:id="rId14"/>
    <p:sldMasterId id="2147483941" r:id="rId15"/>
    <p:sldMasterId id="2147483962" r:id="rId16"/>
    <p:sldMasterId id="2147483993" r:id="rId17"/>
    <p:sldMasterId id="2147484014" r:id="rId18"/>
    <p:sldMasterId id="2147484033" r:id="rId19"/>
    <p:sldMasterId id="2147484053" r:id="rId20"/>
    <p:sldMasterId id="2147484072" r:id="rId21"/>
    <p:sldMasterId id="2147484106" r:id="rId22"/>
    <p:sldMasterId id="2147484131" r:id="rId23"/>
    <p:sldMasterId id="2147484154" r:id="rId24"/>
    <p:sldMasterId id="2147484180" r:id="rId25"/>
  </p:sldMasterIdLst>
  <p:notesMasterIdLst>
    <p:notesMasterId r:id="rId45"/>
  </p:notesMasterIdLst>
  <p:handoutMasterIdLst>
    <p:handoutMasterId r:id="rId46"/>
  </p:handoutMasterIdLst>
  <p:sldIdLst>
    <p:sldId id="487" r:id="rId26"/>
    <p:sldId id="866" r:id="rId27"/>
    <p:sldId id="867" r:id="rId28"/>
    <p:sldId id="868" r:id="rId29"/>
    <p:sldId id="873" r:id="rId30"/>
    <p:sldId id="341" r:id="rId31"/>
    <p:sldId id="342" r:id="rId32"/>
    <p:sldId id="306" r:id="rId33"/>
    <p:sldId id="878" r:id="rId34"/>
    <p:sldId id="879" r:id="rId35"/>
    <p:sldId id="869" r:id="rId36"/>
    <p:sldId id="880" r:id="rId37"/>
    <p:sldId id="870" r:id="rId38"/>
    <p:sldId id="871" r:id="rId39"/>
    <p:sldId id="872" r:id="rId40"/>
    <p:sldId id="874" r:id="rId41"/>
    <p:sldId id="876" r:id="rId42"/>
    <p:sldId id="877" r:id="rId43"/>
    <p:sldId id="807" r:id="rId44"/>
  </p:sldIdLst>
  <p:sldSz cx="9144000" cy="5143500" type="screen16x9"/>
  <p:notesSz cx="7010400" cy="92964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20" userDrawn="1">
          <p15:clr>
            <a:srgbClr val="A4A3A4"/>
          </p15:clr>
        </p15:guide>
        <p15:guide id="2" pos="2496" userDrawn="1">
          <p15:clr>
            <a:srgbClr val="A4A3A4"/>
          </p15:clr>
        </p15:guide>
      </p15:sldGuideLst>
    </p:ext>
    <p:ext uri="{2D200454-40CA-4A62-9FC3-DE9A4176ACB9}">
      <p15:notesGuideLst xmlns:p15="http://schemas.microsoft.com/office/powerpoint/2012/main">
        <p15:guide id="1" orient="horz" pos="2913" userDrawn="1">
          <p15:clr>
            <a:srgbClr val="A4A3A4"/>
          </p15:clr>
        </p15:guide>
        <p15:guide id="2" orient="horz" pos="91" userDrawn="1">
          <p15:clr>
            <a:srgbClr val="A4A3A4"/>
          </p15:clr>
        </p15:guide>
        <p15:guide id="3" orient="horz" pos="5731" userDrawn="1">
          <p15:clr>
            <a:srgbClr val="A4A3A4"/>
          </p15:clr>
        </p15:guide>
        <p15:guide id="4" pos="2212" userDrawn="1">
          <p15:clr>
            <a:srgbClr val="A4A3A4"/>
          </p15:clr>
        </p15:guide>
        <p15:guide id="5" pos="102" userDrawn="1">
          <p15:clr>
            <a:srgbClr val="A4A3A4"/>
          </p15:clr>
        </p15:guide>
        <p15:guide id="6" pos="4325" userDrawn="1">
          <p15:clr>
            <a:srgbClr val="A4A3A4"/>
          </p15:clr>
        </p15:guide>
        <p15:guide id="7" orient="horz" pos="2929" userDrawn="1">
          <p15:clr>
            <a:srgbClr val="A4A3A4"/>
          </p15:clr>
        </p15:guide>
        <p15:guide id="8" orient="horz" pos="5761" userDrawn="1">
          <p15:clr>
            <a:srgbClr val="A4A3A4"/>
          </p15:clr>
        </p15:guide>
        <p15:guide id="9" pos="2209" userDrawn="1">
          <p15:clr>
            <a:srgbClr val="A4A3A4"/>
          </p15:clr>
        </p15:guide>
        <p15:guide id="10" pos="431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00B451"/>
    <a:srgbClr val="316886"/>
    <a:srgbClr val="316822"/>
    <a:srgbClr val="E8FF11"/>
    <a:srgbClr val="CFD5EA"/>
    <a:srgbClr val="EEFF4F"/>
    <a:srgbClr val="F1FF71"/>
    <a:srgbClr val="FFFF00"/>
    <a:srgbClr val="00EA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210" autoAdjust="0"/>
    <p:restoredTop sz="94800" autoAdjust="0"/>
  </p:normalViewPr>
  <p:slideViewPr>
    <p:cSldViewPr snapToObjects="1" showGuides="1">
      <p:cViewPr varScale="1">
        <p:scale>
          <a:sx n="118" d="100"/>
          <a:sy n="118" d="100"/>
        </p:scale>
        <p:origin x="996" y="108"/>
      </p:cViewPr>
      <p:guideLst>
        <p:guide orient="horz" pos="2820"/>
        <p:guide pos="2496"/>
      </p:guideLst>
    </p:cSldViewPr>
  </p:slideViewPr>
  <p:notesTextViewPr>
    <p:cViewPr>
      <p:scale>
        <a:sx n="100" d="100"/>
        <a:sy n="100" d="100"/>
      </p:scale>
      <p:origin x="0" y="0"/>
    </p:cViewPr>
  </p:notesTextViewPr>
  <p:sorterViewPr>
    <p:cViewPr>
      <p:scale>
        <a:sx n="90" d="100"/>
        <a:sy n="90" d="100"/>
      </p:scale>
      <p:origin x="0" y="0"/>
    </p:cViewPr>
  </p:sorterViewPr>
  <p:notesViewPr>
    <p:cSldViewPr snapToObjects="1">
      <p:cViewPr>
        <p:scale>
          <a:sx n="100" d="100"/>
          <a:sy n="100" d="100"/>
        </p:scale>
        <p:origin x="2280" y="-1142"/>
      </p:cViewPr>
      <p:guideLst>
        <p:guide orient="horz" pos="2913"/>
        <p:guide orient="horz" pos="91"/>
        <p:guide orient="horz" pos="5731"/>
        <p:guide pos="2212"/>
        <p:guide pos="102"/>
        <p:guide pos="4325"/>
        <p:guide orient="horz" pos="2929"/>
        <p:guide orient="horz" pos="5761"/>
        <p:guide pos="2209"/>
        <p:guide pos="431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1.xml"/><Relationship Id="rId39"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Master" Target="slideMasters/slideMaster17.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4.xml"/><Relationship Id="rId41"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FBA549-41E4-4CF2-ADF8-77C23DC3F79C}" type="doc">
      <dgm:prSet loTypeId="urn:microsoft.com/office/officeart/2005/8/layout/rings+Icon" loCatId="officeonline" qsTypeId="urn:microsoft.com/office/officeart/2005/8/quickstyle/simple1" qsCatId="simple" csTypeId="urn:microsoft.com/office/officeart/2005/8/colors/accent1_2" csCatId="accent1" phldr="1"/>
      <dgm:spPr/>
      <dgm:t>
        <a:bodyPr/>
        <a:lstStyle/>
        <a:p>
          <a:endParaRPr lang="en-US"/>
        </a:p>
      </dgm:t>
    </dgm:pt>
    <dgm:pt modelId="{F4439717-4E1D-438C-9440-C1820A408652}">
      <dgm:prSet phldrT="[Text]" custT="1"/>
      <dgm:spPr/>
      <dgm:t>
        <a:bodyPr/>
        <a:lstStyle/>
        <a:p>
          <a:r>
            <a:rPr lang="en-US" sz="900" dirty="0">
              <a:solidFill>
                <a:schemeClr val="bg1"/>
              </a:solidFill>
            </a:rPr>
            <a:t>Risk, FX/Investments, Cash </a:t>
          </a:r>
          <a:r>
            <a:rPr lang="en-US" sz="900" dirty="0" err="1">
              <a:solidFill>
                <a:schemeClr val="bg1"/>
              </a:solidFill>
            </a:rPr>
            <a:t>Mgmt</a:t>
          </a:r>
          <a:r>
            <a:rPr lang="en-US" sz="900" dirty="0">
              <a:solidFill>
                <a:schemeClr val="bg1"/>
              </a:solidFill>
            </a:rPr>
            <a:t>,</a:t>
          </a:r>
        </a:p>
        <a:p>
          <a:r>
            <a:rPr lang="en-US" sz="900" dirty="0">
              <a:solidFill>
                <a:schemeClr val="bg1"/>
              </a:solidFill>
            </a:rPr>
            <a:t>Customer Finance</a:t>
          </a:r>
        </a:p>
      </dgm:t>
    </dgm:pt>
    <dgm:pt modelId="{F43FEAC6-6A8A-4C6A-9C72-B73A6FA77A3E}" type="parTrans" cxnId="{644FB3FC-0642-417E-BB2F-BD1340B4AEDA}">
      <dgm:prSet/>
      <dgm:spPr/>
      <dgm:t>
        <a:bodyPr/>
        <a:lstStyle/>
        <a:p>
          <a:endParaRPr lang="en-US"/>
        </a:p>
      </dgm:t>
    </dgm:pt>
    <dgm:pt modelId="{8904335E-4AE5-4DB3-AE4E-5FDF5EDE96DF}" type="sibTrans" cxnId="{644FB3FC-0642-417E-BB2F-BD1340B4AEDA}">
      <dgm:prSet/>
      <dgm:spPr/>
      <dgm:t>
        <a:bodyPr/>
        <a:lstStyle/>
        <a:p>
          <a:endParaRPr lang="en-US"/>
        </a:p>
      </dgm:t>
    </dgm:pt>
    <dgm:pt modelId="{651F4557-436A-4A33-ACEB-1D43DAE7BB16}">
      <dgm:prSet phldrT="[Text]" custT="1"/>
      <dgm:spPr/>
      <dgm:t>
        <a:bodyPr/>
        <a:lstStyle/>
        <a:p>
          <a:r>
            <a:rPr lang="en-US" sz="1000" dirty="0">
              <a:solidFill>
                <a:schemeClr val="bg1"/>
              </a:solidFill>
            </a:rPr>
            <a:t>Cash </a:t>
          </a:r>
          <a:r>
            <a:rPr lang="en-US" sz="1000" dirty="0" err="1">
              <a:solidFill>
                <a:schemeClr val="bg1"/>
              </a:solidFill>
            </a:rPr>
            <a:t>Mgmt</a:t>
          </a:r>
          <a:r>
            <a:rPr lang="en-US" sz="1000" dirty="0">
              <a:solidFill>
                <a:schemeClr val="bg1"/>
              </a:solidFill>
            </a:rPr>
            <a:t>/CF</a:t>
          </a:r>
        </a:p>
      </dgm:t>
    </dgm:pt>
    <dgm:pt modelId="{DA14C86A-9B47-4533-935C-2BFADA98BF0D}" type="parTrans" cxnId="{C0F8331A-6DDF-4C88-9560-2B33B120A6CE}">
      <dgm:prSet/>
      <dgm:spPr/>
      <dgm:t>
        <a:bodyPr/>
        <a:lstStyle/>
        <a:p>
          <a:endParaRPr lang="en-US"/>
        </a:p>
      </dgm:t>
    </dgm:pt>
    <dgm:pt modelId="{D47657E4-60C8-4E82-BB73-3333C47A4D08}" type="sibTrans" cxnId="{C0F8331A-6DDF-4C88-9560-2B33B120A6CE}">
      <dgm:prSet/>
      <dgm:spPr/>
      <dgm:t>
        <a:bodyPr/>
        <a:lstStyle/>
        <a:p>
          <a:endParaRPr lang="en-US"/>
        </a:p>
      </dgm:t>
    </dgm:pt>
    <dgm:pt modelId="{C06AA4BF-368E-4BFD-ACAD-289F81BA832E}">
      <dgm:prSet phldrT="[Text]" custT="1"/>
      <dgm:spPr/>
      <dgm:t>
        <a:bodyPr/>
        <a:lstStyle/>
        <a:p>
          <a:r>
            <a:rPr lang="en-US" sz="1000" dirty="0">
              <a:solidFill>
                <a:schemeClr val="bg1"/>
              </a:solidFill>
            </a:rPr>
            <a:t>Strategy</a:t>
          </a:r>
        </a:p>
      </dgm:t>
    </dgm:pt>
    <dgm:pt modelId="{71655A95-E61A-4D00-A8A2-F1AC9CD3597F}" type="parTrans" cxnId="{B6EAFFD1-D6CB-4F24-AD41-8FD80866E836}">
      <dgm:prSet/>
      <dgm:spPr/>
      <dgm:t>
        <a:bodyPr/>
        <a:lstStyle/>
        <a:p>
          <a:endParaRPr lang="en-US"/>
        </a:p>
      </dgm:t>
    </dgm:pt>
    <dgm:pt modelId="{C3170810-37F0-4171-9A25-791B7DDE9340}" type="sibTrans" cxnId="{B6EAFFD1-D6CB-4F24-AD41-8FD80866E836}">
      <dgm:prSet/>
      <dgm:spPr/>
      <dgm:t>
        <a:bodyPr/>
        <a:lstStyle/>
        <a:p>
          <a:endParaRPr lang="en-US"/>
        </a:p>
      </dgm:t>
    </dgm:pt>
    <dgm:pt modelId="{F92756DF-2380-4E0F-A0B0-FBAF523B7B7F}">
      <dgm:prSet phldrT="[Text]" custT="1"/>
      <dgm:spPr/>
      <dgm:t>
        <a:bodyPr/>
        <a:lstStyle/>
        <a:p>
          <a:r>
            <a:rPr lang="en-US" sz="1000" dirty="0">
              <a:solidFill>
                <a:schemeClr val="bg1"/>
              </a:solidFill>
            </a:rPr>
            <a:t>Cash </a:t>
          </a:r>
          <a:r>
            <a:rPr lang="en-US" sz="1000" dirty="0" err="1">
              <a:solidFill>
                <a:schemeClr val="bg1"/>
              </a:solidFill>
            </a:rPr>
            <a:t>Mgmt</a:t>
          </a:r>
          <a:r>
            <a:rPr lang="en-US" sz="1000" dirty="0">
              <a:solidFill>
                <a:schemeClr val="bg1"/>
              </a:solidFill>
            </a:rPr>
            <a:t>/</a:t>
          </a:r>
        </a:p>
        <a:p>
          <a:r>
            <a:rPr lang="en-US" sz="1000" dirty="0">
              <a:solidFill>
                <a:schemeClr val="bg1"/>
              </a:solidFill>
            </a:rPr>
            <a:t>Inhouse</a:t>
          </a:r>
        </a:p>
        <a:p>
          <a:r>
            <a:rPr lang="en-US" sz="1000" dirty="0">
              <a:solidFill>
                <a:schemeClr val="bg1"/>
              </a:solidFill>
            </a:rPr>
            <a:t>Bank/</a:t>
          </a:r>
        </a:p>
        <a:p>
          <a:r>
            <a:rPr lang="en-US" sz="1000" dirty="0">
              <a:solidFill>
                <a:schemeClr val="bg1"/>
              </a:solidFill>
            </a:rPr>
            <a:t>CF</a:t>
          </a:r>
        </a:p>
      </dgm:t>
    </dgm:pt>
    <dgm:pt modelId="{55D2A7F2-AE53-4B25-9CDB-D9D8CCC296AB}" type="parTrans" cxnId="{CEC84422-5341-4BF9-98B8-97EFDE2598D0}">
      <dgm:prSet/>
      <dgm:spPr/>
      <dgm:t>
        <a:bodyPr/>
        <a:lstStyle/>
        <a:p>
          <a:endParaRPr lang="en-US"/>
        </a:p>
      </dgm:t>
    </dgm:pt>
    <dgm:pt modelId="{787F4DA7-7C7A-4245-A1C8-B4375A1FBD4B}" type="sibTrans" cxnId="{CEC84422-5341-4BF9-98B8-97EFDE2598D0}">
      <dgm:prSet/>
      <dgm:spPr/>
      <dgm:t>
        <a:bodyPr/>
        <a:lstStyle/>
        <a:p>
          <a:endParaRPr lang="en-US"/>
        </a:p>
      </dgm:t>
    </dgm:pt>
    <dgm:pt modelId="{3A2FDA76-9E84-444E-8894-5B13F4164C6A}">
      <dgm:prSet phldrT="[Text]" custT="1"/>
      <dgm:spPr/>
      <dgm:t>
        <a:bodyPr/>
        <a:lstStyle/>
        <a:p>
          <a:r>
            <a:rPr lang="en-US" sz="1000" dirty="0">
              <a:solidFill>
                <a:schemeClr val="bg1"/>
              </a:solidFill>
            </a:rPr>
            <a:t>Cash </a:t>
          </a:r>
          <a:r>
            <a:rPr lang="en-US" sz="1000" dirty="0" err="1">
              <a:solidFill>
                <a:schemeClr val="bg1"/>
              </a:solidFill>
            </a:rPr>
            <a:t>Mgmt</a:t>
          </a:r>
          <a:r>
            <a:rPr lang="en-US" sz="1000" dirty="0">
              <a:solidFill>
                <a:schemeClr val="bg1"/>
              </a:solidFill>
            </a:rPr>
            <a:t>/CF</a:t>
          </a:r>
        </a:p>
      </dgm:t>
    </dgm:pt>
    <dgm:pt modelId="{DF930080-71AA-4A5F-B9CA-9B50DF235B78}" type="parTrans" cxnId="{1A443AA5-CFE6-43A2-BE46-99B5B95E0023}">
      <dgm:prSet/>
      <dgm:spPr/>
      <dgm:t>
        <a:bodyPr/>
        <a:lstStyle/>
        <a:p>
          <a:endParaRPr lang="en-US"/>
        </a:p>
      </dgm:t>
    </dgm:pt>
    <dgm:pt modelId="{22B0E861-CD96-41D5-AE74-6D8066B2153F}" type="sibTrans" cxnId="{1A443AA5-CFE6-43A2-BE46-99B5B95E0023}">
      <dgm:prSet/>
      <dgm:spPr/>
      <dgm:t>
        <a:bodyPr/>
        <a:lstStyle/>
        <a:p>
          <a:endParaRPr lang="en-US"/>
        </a:p>
      </dgm:t>
    </dgm:pt>
    <dgm:pt modelId="{974DBC36-0749-4195-BFAE-00298F575451}" type="pres">
      <dgm:prSet presAssocID="{ACFBA549-41E4-4CF2-ADF8-77C23DC3F79C}" presName="Name0" presStyleCnt="0">
        <dgm:presLayoutVars>
          <dgm:chMax val="7"/>
          <dgm:dir/>
          <dgm:resizeHandles val="exact"/>
        </dgm:presLayoutVars>
      </dgm:prSet>
      <dgm:spPr/>
    </dgm:pt>
    <dgm:pt modelId="{E6CCF57B-AEFB-4578-B08A-0B38E3970C72}" type="pres">
      <dgm:prSet presAssocID="{ACFBA549-41E4-4CF2-ADF8-77C23DC3F79C}" presName="ellipse1" presStyleLbl="vennNode1" presStyleIdx="0" presStyleCnt="5" custScaleX="50594" custScaleY="49909" custLinFactNeighborX="95620" custLinFactNeighborY="46784">
        <dgm:presLayoutVars>
          <dgm:bulletEnabled val="1"/>
        </dgm:presLayoutVars>
      </dgm:prSet>
      <dgm:spPr/>
    </dgm:pt>
    <dgm:pt modelId="{74DB6621-98E6-47ED-8E45-6A42A4D16375}" type="pres">
      <dgm:prSet presAssocID="{ACFBA549-41E4-4CF2-ADF8-77C23DC3F79C}" presName="ellipse2" presStyleLbl="vennNode1" presStyleIdx="1" presStyleCnt="5" custScaleX="27324" custScaleY="25253" custLinFactNeighborX="41846" custLinFactNeighborY="40562">
        <dgm:presLayoutVars>
          <dgm:bulletEnabled val="1"/>
        </dgm:presLayoutVars>
      </dgm:prSet>
      <dgm:spPr/>
    </dgm:pt>
    <dgm:pt modelId="{60EEC7ED-1C41-450C-9916-ACEED0F3020B}" type="pres">
      <dgm:prSet presAssocID="{ACFBA549-41E4-4CF2-ADF8-77C23DC3F79C}" presName="ellipse3" presStyleLbl="vennNode1" presStyleIdx="2" presStyleCnt="5" custScaleX="24218" custScaleY="25019" custLinFactNeighborX="-93106" custLinFactNeighborY="53928">
        <dgm:presLayoutVars>
          <dgm:bulletEnabled val="1"/>
        </dgm:presLayoutVars>
      </dgm:prSet>
      <dgm:spPr/>
    </dgm:pt>
    <dgm:pt modelId="{D7D948C9-9A6B-4465-B6E2-64A7AF1E0E6C}" type="pres">
      <dgm:prSet presAssocID="{ACFBA549-41E4-4CF2-ADF8-77C23DC3F79C}" presName="ellipse4" presStyleLbl="vennNode1" presStyleIdx="3" presStyleCnt="5" custScaleX="45936" custScaleY="42482" custLinFactNeighborX="-33797" custLinFactNeighborY="-83818">
        <dgm:presLayoutVars>
          <dgm:bulletEnabled val="1"/>
        </dgm:presLayoutVars>
      </dgm:prSet>
      <dgm:spPr/>
    </dgm:pt>
    <dgm:pt modelId="{EF008440-8568-44A8-806B-0CE4F6FC3249}" type="pres">
      <dgm:prSet presAssocID="{ACFBA549-41E4-4CF2-ADF8-77C23DC3F79C}" presName="ellipse5" presStyleLbl="vennNode1" presStyleIdx="4" presStyleCnt="5" custScaleX="29282" custScaleY="29766" custLinFactNeighborX="22878" custLinFactNeighborY="46490">
        <dgm:presLayoutVars>
          <dgm:bulletEnabled val="1"/>
        </dgm:presLayoutVars>
      </dgm:prSet>
      <dgm:spPr/>
    </dgm:pt>
  </dgm:ptLst>
  <dgm:cxnLst>
    <dgm:cxn modelId="{C0F8331A-6DDF-4C88-9560-2B33B120A6CE}" srcId="{ACFBA549-41E4-4CF2-ADF8-77C23DC3F79C}" destId="{651F4557-436A-4A33-ACEB-1D43DAE7BB16}" srcOrd="1" destOrd="0" parTransId="{DA14C86A-9B47-4533-935C-2BFADA98BF0D}" sibTransId="{D47657E4-60C8-4E82-BB73-3333C47A4D08}"/>
    <dgm:cxn modelId="{CEC84422-5341-4BF9-98B8-97EFDE2598D0}" srcId="{ACFBA549-41E4-4CF2-ADF8-77C23DC3F79C}" destId="{F92756DF-2380-4E0F-A0B0-FBAF523B7B7F}" srcOrd="3" destOrd="0" parTransId="{55D2A7F2-AE53-4B25-9CDB-D9D8CCC296AB}" sibTransId="{787F4DA7-7C7A-4245-A1C8-B4375A1FBD4B}"/>
    <dgm:cxn modelId="{21F52B60-BFFD-4E9F-9C9B-07444FBE7A38}" type="presOf" srcId="{F4439717-4E1D-438C-9440-C1820A408652}" destId="{E6CCF57B-AEFB-4578-B08A-0B38E3970C72}" srcOrd="0" destOrd="0" presId="urn:microsoft.com/office/officeart/2005/8/layout/rings+Icon"/>
    <dgm:cxn modelId="{7BF64066-29AB-4342-BFAB-34211C3E5D60}" type="presOf" srcId="{ACFBA549-41E4-4CF2-ADF8-77C23DC3F79C}" destId="{974DBC36-0749-4195-BFAE-00298F575451}" srcOrd="0" destOrd="0" presId="urn:microsoft.com/office/officeart/2005/8/layout/rings+Icon"/>
    <dgm:cxn modelId="{9DACA76E-2B2D-4A81-82BD-850966874E11}" type="presOf" srcId="{651F4557-436A-4A33-ACEB-1D43DAE7BB16}" destId="{74DB6621-98E6-47ED-8E45-6A42A4D16375}" srcOrd="0" destOrd="0" presId="urn:microsoft.com/office/officeart/2005/8/layout/rings+Icon"/>
    <dgm:cxn modelId="{2BD79585-1289-413F-8D71-66AAB8C9DAEB}" type="presOf" srcId="{C06AA4BF-368E-4BFD-ACAD-289F81BA832E}" destId="{60EEC7ED-1C41-450C-9916-ACEED0F3020B}" srcOrd="0" destOrd="0" presId="urn:microsoft.com/office/officeart/2005/8/layout/rings+Icon"/>
    <dgm:cxn modelId="{1A443AA5-CFE6-43A2-BE46-99B5B95E0023}" srcId="{ACFBA549-41E4-4CF2-ADF8-77C23DC3F79C}" destId="{3A2FDA76-9E84-444E-8894-5B13F4164C6A}" srcOrd="4" destOrd="0" parTransId="{DF930080-71AA-4A5F-B9CA-9B50DF235B78}" sibTransId="{22B0E861-CD96-41D5-AE74-6D8066B2153F}"/>
    <dgm:cxn modelId="{B6EAFFD1-D6CB-4F24-AD41-8FD80866E836}" srcId="{ACFBA549-41E4-4CF2-ADF8-77C23DC3F79C}" destId="{C06AA4BF-368E-4BFD-ACAD-289F81BA832E}" srcOrd="2" destOrd="0" parTransId="{71655A95-E61A-4D00-A8A2-F1AC9CD3597F}" sibTransId="{C3170810-37F0-4171-9A25-791B7DDE9340}"/>
    <dgm:cxn modelId="{6174B0EE-B232-4655-B249-7D87464256FD}" type="presOf" srcId="{F92756DF-2380-4E0F-A0B0-FBAF523B7B7F}" destId="{D7D948C9-9A6B-4465-B6E2-64A7AF1E0E6C}" srcOrd="0" destOrd="0" presId="urn:microsoft.com/office/officeart/2005/8/layout/rings+Icon"/>
    <dgm:cxn modelId="{A1A3B1F5-78CB-414B-87A2-7C5DB8421089}" type="presOf" srcId="{3A2FDA76-9E84-444E-8894-5B13F4164C6A}" destId="{EF008440-8568-44A8-806B-0CE4F6FC3249}" srcOrd="0" destOrd="0" presId="urn:microsoft.com/office/officeart/2005/8/layout/rings+Icon"/>
    <dgm:cxn modelId="{644FB3FC-0642-417E-BB2F-BD1340B4AEDA}" srcId="{ACFBA549-41E4-4CF2-ADF8-77C23DC3F79C}" destId="{F4439717-4E1D-438C-9440-C1820A408652}" srcOrd="0" destOrd="0" parTransId="{F43FEAC6-6A8A-4C6A-9C72-B73A6FA77A3E}" sibTransId="{8904335E-4AE5-4DB3-AE4E-5FDF5EDE96DF}"/>
    <dgm:cxn modelId="{414EEF07-BEBF-46DA-B7A8-0FA9AC1C6AA4}" type="presParOf" srcId="{974DBC36-0749-4195-BFAE-00298F575451}" destId="{E6CCF57B-AEFB-4578-B08A-0B38E3970C72}" srcOrd="0" destOrd="0" presId="urn:microsoft.com/office/officeart/2005/8/layout/rings+Icon"/>
    <dgm:cxn modelId="{B297B711-8C46-431F-A759-7F5C89FF2354}" type="presParOf" srcId="{974DBC36-0749-4195-BFAE-00298F575451}" destId="{74DB6621-98E6-47ED-8E45-6A42A4D16375}" srcOrd="1" destOrd="0" presId="urn:microsoft.com/office/officeart/2005/8/layout/rings+Icon"/>
    <dgm:cxn modelId="{C1052971-8975-411E-9A08-7AD7ED37EFFB}" type="presParOf" srcId="{974DBC36-0749-4195-BFAE-00298F575451}" destId="{60EEC7ED-1C41-450C-9916-ACEED0F3020B}" srcOrd="2" destOrd="0" presId="urn:microsoft.com/office/officeart/2005/8/layout/rings+Icon"/>
    <dgm:cxn modelId="{00617C78-AD6E-423D-8676-F5A3F97DE336}" type="presParOf" srcId="{974DBC36-0749-4195-BFAE-00298F575451}" destId="{D7D948C9-9A6B-4465-B6E2-64A7AF1E0E6C}" srcOrd="3" destOrd="0" presId="urn:microsoft.com/office/officeart/2005/8/layout/rings+Icon"/>
    <dgm:cxn modelId="{D98C4B65-122B-40F0-A5DE-A6E3C7E3150A}" type="presParOf" srcId="{974DBC36-0749-4195-BFAE-00298F575451}" destId="{EF008440-8568-44A8-806B-0CE4F6FC3249}" srcOrd="4" destOrd="0" presId="urn:microsoft.com/office/officeart/2005/8/layout/rings+Icon"/>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B61BA3-2C39-4C29-AB28-5E61FC6A7711}"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9F55B35-A704-466F-9336-A2192FB90E9D}">
      <dgm:prSet phldrT="[Text]" custT="1"/>
      <dgm:spPr/>
      <dgm:t>
        <a:bodyPr/>
        <a:lstStyle/>
        <a:p>
          <a:r>
            <a:rPr lang="en-US" sz="1200" dirty="0">
              <a:solidFill>
                <a:schemeClr val="tx1">
                  <a:lumMod val="85000"/>
                  <a:lumOff val="15000"/>
                </a:schemeClr>
              </a:solidFill>
            </a:rPr>
            <a:t>Design</a:t>
          </a:r>
        </a:p>
        <a:p>
          <a:r>
            <a:rPr lang="en-US" sz="900" dirty="0"/>
            <a:t>Configuration/Architecture </a:t>
          </a:r>
        </a:p>
        <a:p>
          <a:r>
            <a:rPr lang="en-US" sz="900" dirty="0"/>
            <a:t>IT teams </a:t>
          </a:r>
        </a:p>
        <a:p>
          <a:r>
            <a:rPr lang="en-US" sz="900" dirty="0"/>
            <a:t>Define timeline</a:t>
          </a:r>
        </a:p>
      </dgm:t>
    </dgm:pt>
    <dgm:pt modelId="{8779A854-1F74-4243-92F6-C8F6C3D998DB}" type="parTrans" cxnId="{F4AB049C-393A-4883-BB85-EA751755BE89}">
      <dgm:prSet/>
      <dgm:spPr/>
      <dgm:t>
        <a:bodyPr/>
        <a:lstStyle/>
        <a:p>
          <a:endParaRPr lang="en-US"/>
        </a:p>
      </dgm:t>
    </dgm:pt>
    <dgm:pt modelId="{028631AC-FD5D-4079-AB26-D49367985896}" type="sibTrans" cxnId="{F4AB049C-393A-4883-BB85-EA751755BE89}">
      <dgm:prSet/>
      <dgm:spPr/>
      <dgm:t>
        <a:bodyPr/>
        <a:lstStyle/>
        <a:p>
          <a:endParaRPr lang="en-US"/>
        </a:p>
      </dgm:t>
    </dgm:pt>
    <dgm:pt modelId="{A5772D7F-35BE-4268-93D2-D077F1F5372C}">
      <dgm:prSet phldrT="[Text]" custT="1"/>
      <dgm:spPr/>
      <dgm:t>
        <a:bodyPr/>
        <a:lstStyle/>
        <a:p>
          <a:pPr marL="0" lvl="0" indent="0" algn="ctr" defTabSz="533400">
            <a:lnSpc>
              <a:spcPct val="90000"/>
            </a:lnSpc>
            <a:spcBef>
              <a:spcPct val="0"/>
            </a:spcBef>
            <a:spcAft>
              <a:spcPct val="35000"/>
            </a:spcAft>
            <a:buNone/>
          </a:pPr>
          <a:endParaRPr lang="en-US" sz="1200" kern="1200" dirty="0">
            <a:solidFill>
              <a:srgbClr val="FFFFFF"/>
            </a:solidFill>
            <a:latin typeface="Arial"/>
            <a:ea typeface="+mn-ea"/>
            <a:cs typeface="+mn-cs"/>
          </a:endParaRPr>
        </a:p>
        <a:p>
          <a:pPr marL="0" lvl="0" indent="0" algn="ctr" defTabSz="533400">
            <a:lnSpc>
              <a:spcPct val="90000"/>
            </a:lnSpc>
            <a:spcBef>
              <a:spcPct val="0"/>
            </a:spcBef>
            <a:spcAft>
              <a:spcPct val="35000"/>
            </a:spcAft>
            <a:buNone/>
          </a:pPr>
          <a:r>
            <a:rPr lang="en-US" sz="1200" kern="1200" dirty="0">
              <a:solidFill>
                <a:schemeClr val="tx1">
                  <a:lumMod val="85000"/>
                  <a:lumOff val="15000"/>
                </a:schemeClr>
              </a:solidFill>
              <a:latin typeface="Arial"/>
              <a:ea typeface="+mn-ea"/>
              <a:cs typeface="+mn-cs"/>
            </a:rPr>
            <a:t>Testing</a:t>
          </a:r>
        </a:p>
        <a:p>
          <a:pPr marL="0" lvl="0" algn="l" defTabSz="755650">
            <a:lnSpc>
              <a:spcPct val="90000"/>
            </a:lnSpc>
            <a:spcBef>
              <a:spcPct val="0"/>
            </a:spcBef>
            <a:spcAft>
              <a:spcPct val="35000"/>
            </a:spcAft>
            <a:buNone/>
          </a:pPr>
          <a:r>
            <a:rPr lang="en-US" sz="900" kern="1200" dirty="0"/>
            <a:t>Problem Solving</a:t>
          </a:r>
        </a:p>
        <a:p>
          <a:pPr marL="0" lvl="0" algn="l" defTabSz="755650">
            <a:lnSpc>
              <a:spcPct val="90000"/>
            </a:lnSpc>
            <a:spcBef>
              <a:spcPct val="0"/>
            </a:spcBef>
            <a:spcAft>
              <a:spcPct val="35000"/>
            </a:spcAft>
            <a:buNone/>
          </a:pPr>
          <a:r>
            <a:rPr lang="en-US" sz="900" kern="1200" dirty="0">
              <a:solidFill>
                <a:srgbClr val="FFFFFF"/>
              </a:solidFill>
              <a:latin typeface="Arial"/>
              <a:ea typeface="+mn-ea"/>
              <a:cs typeface="+mn-cs"/>
            </a:rPr>
            <a:t>Cutover Tasks Definition</a:t>
          </a:r>
        </a:p>
        <a:p>
          <a:pPr marL="0" lvl="0" algn="l" defTabSz="755650">
            <a:lnSpc>
              <a:spcPct val="90000"/>
            </a:lnSpc>
            <a:spcBef>
              <a:spcPct val="0"/>
            </a:spcBef>
            <a:spcAft>
              <a:spcPct val="35000"/>
            </a:spcAft>
            <a:buNone/>
          </a:pPr>
          <a:r>
            <a:rPr lang="en-US" sz="900" kern="1200" dirty="0">
              <a:solidFill>
                <a:srgbClr val="FFFFFF"/>
              </a:solidFill>
              <a:latin typeface="Arial"/>
              <a:ea typeface="+mn-ea"/>
              <a:cs typeface="+mn-cs"/>
            </a:rPr>
            <a:t>Timeline Communication</a:t>
          </a:r>
          <a:r>
            <a:rPr lang="en-US" sz="1700" kern="1200" dirty="0"/>
            <a:t>	</a:t>
          </a:r>
        </a:p>
      </dgm:t>
    </dgm:pt>
    <dgm:pt modelId="{77D92CE2-967C-45B3-BB28-237B627FB64C}" type="parTrans" cxnId="{4378A391-3A43-48D0-9768-1650F5704927}">
      <dgm:prSet/>
      <dgm:spPr/>
      <dgm:t>
        <a:bodyPr/>
        <a:lstStyle/>
        <a:p>
          <a:endParaRPr lang="en-US"/>
        </a:p>
      </dgm:t>
    </dgm:pt>
    <dgm:pt modelId="{95A6133F-174C-4FC2-B4AA-5724767E595B}" type="sibTrans" cxnId="{4378A391-3A43-48D0-9768-1650F5704927}">
      <dgm:prSet/>
      <dgm:spPr/>
      <dgm:t>
        <a:bodyPr/>
        <a:lstStyle/>
        <a:p>
          <a:endParaRPr lang="en-US"/>
        </a:p>
      </dgm:t>
    </dgm:pt>
    <dgm:pt modelId="{217BAF08-21B4-4541-9171-1CEF4687C32B}">
      <dgm:prSet phldrT="[Text]" custT="1"/>
      <dgm:spPr/>
      <dgm:t>
        <a:bodyPr/>
        <a:lstStyle/>
        <a:p>
          <a:r>
            <a:rPr lang="en-US" sz="1100" dirty="0">
              <a:solidFill>
                <a:schemeClr val="tx1">
                  <a:lumMod val="85000"/>
                  <a:lumOff val="15000"/>
                </a:schemeClr>
              </a:solidFill>
            </a:rPr>
            <a:t>Requirements</a:t>
          </a:r>
        </a:p>
        <a:p>
          <a:r>
            <a:rPr lang="en-US" sz="900" dirty="0"/>
            <a:t>End Goal</a:t>
          </a:r>
        </a:p>
        <a:p>
          <a:r>
            <a:rPr lang="en-US" sz="900" dirty="0"/>
            <a:t>Funding/Budget</a:t>
          </a:r>
        </a:p>
        <a:p>
          <a:r>
            <a:rPr lang="en-US" sz="900" dirty="0"/>
            <a:t>User Look and Feel</a:t>
          </a:r>
        </a:p>
      </dgm:t>
    </dgm:pt>
    <dgm:pt modelId="{1462EA82-4F11-47C9-9260-A8BEC69F3C22}" type="parTrans" cxnId="{C54B7367-194B-4EAD-BB44-4D22CDCB7B89}">
      <dgm:prSet/>
      <dgm:spPr/>
      <dgm:t>
        <a:bodyPr/>
        <a:lstStyle/>
        <a:p>
          <a:endParaRPr lang="en-US"/>
        </a:p>
      </dgm:t>
    </dgm:pt>
    <dgm:pt modelId="{A6C31097-9E00-4B99-9E36-4E0CB1BA2EF4}" type="sibTrans" cxnId="{C54B7367-194B-4EAD-BB44-4D22CDCB7B89}">
      <dgm:prSet/>
      <dgm:spPr/>
      <dgm:t>
        <a:bodyPr/>
        <a:lstStyle/>
        <a:p>
          <a:endParaRPr lang="en-US"/>
        </a:p>
      </dgm:t>
    </dgm:pt>
    <dgm:pt modelId="{75E5830B-CA32-466C-AFFF-A53989D05E41}">
      <dgm:prSet phldrT="[Text]" custT="1"/>
      <dgm:spPr/>
      <dgm:t>
        <a:bodyPr/>
        <a:lstStyle/>
        <a:p>
          <a:r>
            <a:rPr lang="en-US" sz="1200" kern="1200" dirty="0">
              <a:solidFill>
                <a:schemeClr val="tx1">
                  <a:lumMod val="85000"/>
                  <a:lumOff val="15000"/>
                </a:schemeClr>
              </a:solidFill>
              <a:latin typeface="Arial"/>
              <a:ea typeface="+mn-ea"/>
              <a:cs typeface="+mn-cs"/>
            </a:rPr>
            <a:t>End Product Approval</a:t>
          </a:r>
        </a:p>
        <a:p>
          <a:r>
            <a:rPr lang="en-US" sz="900" kern="1200" dirty="0">
              <a:solidFill>
                <a:srgbClr val="FFFFFF"/>
              </a:solidFill>
              <a:latin typeface="Arial"/>
              <a:ea typeface="+mn-ea"/>
              <a:cs typeface="+mn-cs"/>
            </a:rPr>
            <a:t>Final Demo</a:t>
          </a:r>
        </a:p>
      </dgm:t>
    </dgm:pt>
    <dgm:pt modelId="{54DFAA25-A609-41C5-8D70-7C9DE36624C4}" type="parTrans" cxnId="{27286CF1-DAC9-49C2-9397-F1C1FE94C7FA}">
      <dgm:prSet/>
      <dgm:spPr/>
      <dgm:t>
        <a:bodyPr/>
        <a:lstStyle/>
        <a:p>
          <a:endParaRPr lang="en-US"/>
        </a:p>
      </dgm:t>
    </dgm:pt>
    <dgm:pt modelId="{B48E7AB0-1D1B-44F3-A4AE-E5261DF7A5CA}" type="sibTrans" cxnId="{27286CF1-DAC9-49C2-9397-F1C1FE94C7FA}">
      <dgm:prSet/>
      <dgm:spPr/>
      <dgm:t>
        <a:bodyPr/>
        <a:lstStyle/>
        <a:p>
          <a:endParaRPr lang="en-US"/>
        </a:p>
      </dgm:t>
    </dgm:pt>
    <dgm:pt modelId="{A3154F1A-550F-415B-A85E-BBD6D91BCDE0}">
      <dgm:prSet phldrT="[Text]" phldr="1"/>
      <dgm:spPr/>
      <dgm:t>
        <a:bodyPr/>
        <a:lstStyle/>
        <a:p>
          <a:endParaRPr lang="en-US"/>
        </a:p>
      </dgm:t>
    </dgm:pt>
    <dgm:pt modelId="{DFD8A705-E506-4F93-92B1-9D109443CBFC}" type="sibTrans" cxnId="{EA69924F-D154-41D8-811D-2D9E978B3BA7}">
      <dgm:prSet/>
      <dgm:spPr/>
      <dgm:t>
        <a:bodyPr/>
        <a:lstStyle/>
        <a:p>
          <a:endParaRPr lang="en-US"/>
        </a:p>
      </dgm:t>
    </dgm:pt>
    <dgm:pt modelId="{4DC02B46-8D22-4580-9970-BF69AC7083C1}" type="parTrans" cxnId="{EA69924F-D154-41D8-811D-2D9E978B3BA7}">
      <dgm:prSet/>
      <dgm:spPr/>
      <dgm:t>
        <a:bodyPr/>
        <a:lstStyle/>
        <a:p>
          <a:endParaRPr lang="en-US"/>
        </a:p>
      </dgm:t>
    </dgm:pt>
    <dgm:pt modelId="{803A1FAC-2AF3-4DE1-8073-C052B0EEFB76}" type="pres">
      <dgm:prSet presAssocID="{FCB61BA3-2C39-4C29-AB28-5E61FC6A7711}" presName="CompostProcess" presStyleCnt="0">
        <dgm:presLayoutVars>
          <dgm:dir/>
          <dgm:resizeHandles val="exact"/>
        </dgm:presLayoutVars>
      </dgm:prSet>
      <dgm:spPr/>
    </dgm:pt>
    <dgm:pt modelId="{FD080FE3-05B5-4A9B-B4E2-2BBE621EBB82}" type="pres">
      <dgm:prSet presAssocID="{FCB61BA3-2C39-4C29-AB28-5E61FC6A7711}" presName="arrow" presStyleLbl="bgShp" presStyleIdx="0" presStyleCnt="1" custLinFactNeighborX="-1471" custLinFactNeighborY="4296"/>
      <dgm:spPr/>
    </dgm:pt>
    <dgm:pt modelId="{11F3689D-123A-4AB3-B945-322F10017585}" type="pres">
      <dgm:prSet presAssocID="{FCB61BA3-2C39-4C29-AB28-5E61FC6A7711}" presName="linearProcess" presStyleCnt="0"/>
      <dgm:spPr/>
    </dgm:pt>
    <dgm:pt modelId="{640AA670-BFAF-4F7B-9FF4-AB893AEBABFD}" type="pres">
      <dgm:prSet presAssocID="{A3154F1A-550F-415B-A85E-BBD6D91BCDE0}" presName="textNode" presStyleLbl="node1" presStyleIdx="0" presStyleCnt="5" custScaleY="94849" custLinFactX="-28518" custLinFactNeighborX="-100000" custLinFactNeighborY="-1562">
        <dgm:presLayoutVars>
          <dgm:bulletEnabled val="1"/>
        </dgm:presLayoutVars>
      </dgm:prSet>
      <dgm:spPr/>
    </dgm:pt>
    <dgm:pt modelId="{5F1DCEA1-C53B-4556-99D8-5A1F0A42C654}" type="pres">
      <dgm:prSet presAssocID="{DFD8A705-E506-4F93-92B1-9D109443CBFC}" presName="sibTrans" presStyleCnt="0"/>
      <dgm:spPr/>
    </dgm:pt>
    <dgm:pt modelId="{5872A71C-4E76-4911-AB53-D04E19CB8E9A}" type="pres">
      <dgm:prSet presAssocID="{19F55B35-A704-466F-9336-A2192FB90E9D}" presName="textNode" presStyleLbl="node1" presStyleIdx="1" presStyleCnt="5">
        <dgm:presLayoutVars>
          <dgm:bulletEnabled val="1"/>
        </dgm:presLayoutVars>
      </dgm:prSet>
      <dgm:spPr/>
    </dgm:pt>
    <dgm:pt modelId="{1C7DFEEF-F66A-40BE-8830-6849A6652721}" type="pres">
      <dgm:prSet presAssocID="{028631AC-FD5D-4079-AB26-D49367985896}" presName="sibTrans" presStyleCnt="0"/>
      <dgm:spPr/>
    </dgm:pt>
    <dgm:pt modelId="{C0CE7BA8-4CBF-47FD-AC94-4B61CC855C79}" type="pres">
      <dgm:prSet presAssocID="{A5772D7F-35BE-4268-93D2-D077F1F5372C}" presName="textNode" presStyleLbl="node1" presStyleIdx="2" presStyleCnt="5" custScaleY="100000" custLinFactNeighborX="42951" custLinFactNeighborY="1014">
        <dgm:presLayoutVars>
          <dgm:bulletEnabled val="1"/>
        </dgm:presLayoutVars>
      </dgm:prSet>
      <dgm:spPr/>
    </dgm:pt>
    <dgm:pt modelId="{04C3A498-8E75-45DC-BAD4-013C0FFC36FE}" type="pres">
      <dgm:prSet presAssocID="{95A6133F-174C-4FC2-B4AA-5724767E595B}" presName="sibTrans" presStyleCnt="0"/>
      <dgm:spPr/>
    </dgm:pt>
    <dgm:pt modelId="{BD737DCA-AC3F-4AF2-84CF-5E2F856B303E}" type="pres">
      <dgm:prSet presAssocID="{217BAF08-21B4-4541-9171-1CEF4687C32B}" presName="textNode" presStyleLbl="node1" presStyleIdx="3" presStyleCnt="5" custScaleX="103138" custScaleY="100000" custLinFactX="-299866" custLinFactNeighborX="-300000" custLinFactNeighborY="1014">
        <dgm:presLayoutVars>
          <dgm:bulletEnabled val="1"/>
        </dgm:presLayoutVars>
      </dgm:prSet>
      <dgm:spPr/>
    </dgm:pt>
    <dgm:pt modelId="{A5410C46-671A-4353-B7FA-73D802AB2070}" type="pres">
      <dgm:prSet presAssocID="{A6C31097-9E00-4B99-9E36-4E0CB1BA2EF4}" presName="sibTrans" presStyleCnt="0"/>
      <dgm:spPr/>
    </dgm:pt>
    <dgm:pt modelId="{97DEE4A7-AB0F-4131-988D-A3D8D1320BED}" type="pres">
      <dgm:prSet presAssocID="{75E5830B-CA32-466C-AFFF-A53989D05E41}" presName="textNode" presStyleLbl="node1" presStyleIdx="4" presStyleCnt="5" custLinFactX="-94986" custLinFactNeighborX="-100000" custLinFactNeighborY="1014">
        <dgm:presLayoutVars>
          <dgm:bulletEnabled val="1"/>
        </dgm:presLayoutVars>
      </dgm:prSet>
      <dgm:spPr/>
    </dgm:pt>
  </dgm:ptLst>
  <dgm:cxnLst>
    <dgm:cxn modelId="{AD0FC615-D3EB-435C-B828-3FC28C4338CB}" type="presOf" srcId="{A5772D7F-35BE-4268-93D2-D077F1F5372C}" destId="{C0CE7BA8-4CBF-47FD-AC94-4B61CC855C79}" srcOrd="0" destOrd="0" presId="urn:microsoft.com/office/officeart/2005/8/layout/hProcess9"/>
    <dgm:cxn modelId="{C54B7367-194B-4EAD-BB44-4D22CDCB7B89}" srcId="{FCB61BA3-2C39-4C29-AB28-5E61FC6A7711}" destId="{217BAF08-21B4-4541-9171-1CEF4687C32B}" srcOrd="3" destOrd="0" parTransId="{1462EA82-4F11-47C9-9260-A8BEC69F3C22}" sibTransId="{A6C31097-9E00-4B99-9E36-4E0CB1BA2EF4}"/>
    <dgm:cxn modelId="{EA69924F-D154-41D8-811D-2D9E978B3BA7}" srcId="{FCB61BA3-2C39-4C29-AB28-5E61FC6A7711}" destId="{A3154F1A-550F-415B-A85E-BBD6D91BCDE0}" srcOrd="0" destOrd="0" parTransId="{4DC02B46-8D22-4580-9970-BF69AC7083C1}" sibTransId="{DFD8A705-E506-4F93-92B1-9D109443CBFC}"/>
    <dgm:cxn modelId="{1A675A91-008C-4285-8442-2CC6EDA68698}" type="presOf" srcId="{FCB61BA3-2C39-4C29-AB28-5E61FC6A7711}" destId="{803A1FAC-2AF3-4DE1-8073-C052B0EEFB76}" srcOrd="0" destOrd="0" presId="urn:microsoft.com/office/officeart/2005/8/layout/hProcess9"/>
    <dgm:cxn modelId="{4378A391-3A43-48D0-9768-1650F5704927}" srcId="{FCB61BA3-2C39-4C29-AB28-5E61FC6A7711}" destId="{A5772D7F-35BE-4268-93D2-D077F1F5372C}" srcOrd="2" destOrd="0" parTransId="{77D92CE2-967C-45B3-BB28-237B627FB64C}" sibTransId="{95A6133F-174C-4FC2-B4AA-5724767E595B}"/>
    <dgm:cxn modelId="{F4AB049C-393A-4883-BB85-EA751755BE89}" srcId="{FCB61BA3-2C39-4C29-AB28-5E61FC6A7711}" destId="{19F55B35-A704-466F-9336-A2192FB90E9D}" srcOrd="1" destOrd="0" parTransId="{8779A854-1F74-4243-92F6-C8F6C3D998DB}" sibTransId="{028631AC-FD5D-4079-AB26-D49367985896}"/>
    <dgm:cxn modelId="{B562F2AA-F68D-4285-BF2D-DE49124D006B}" type="presOf" srcId="{A3154F1A-550F-415B-A85E-BBD6D91BCDE0}" destId="{640AA670-BFAF-4F7B-9FF4-AB893AEBABFD}" srcOrd="0" destOrd="0" presId="urn:microsoft.com/office/officeart/2005/8/layout/hProcess9"/>
    <dgm:cxn modelId="{A1C03DBF-B3E9-4F7E-BD44-325DF26654F0}" type="presOf" srcId="{75E5830B-CA32-466C-AFFF-A53989D05E41}" destId="{97DEE4A7-AB0F-4131-988D-A3D8D1320BED}" srcOrd="0" destOrd="0" presId="urn:microsoft.com/office/officeart/2005/8/layout/hProcess9"/>
    <dgm:cxn modelId="{919886BF-4AEE-4396-8372-2C0EA791EC59}" type="presOf" srcId="{19F55B35-A704-466F-9336-A2192FB90E9D}" destId="{5872A71C-4E76-4911-AB53-D04E19CB8E9A}" srcOrd="0" destOrd="0" presId="urn:microsoft.com/office/officeart/2005/8/layout/hProcess9"/>
    <dgm:cxn modelId="{27286CF1-DAC9-49C2-9397-F1C1FE94C7FA}" srcId="{FCB61BA3-2C39-4C29-AB28-5E61FC6A7711}" destId="{75E5830B-CA32-466C-AFFF-A53989D05E41}" srcOrd="4" destOrd="0" parTransId="{54DFAA25-A609-41C5-8D70-7C9DE36624C4}" sibTransId="{B48E7AB0-1D1B-44F3-A4AE-E5261DF7A5CA}"/>
    <dgm:cxn modelId="{C5768DF1-5263-4CCB-AD4D-DE13F847EEB3}" type="presOf" srcId="{217BAF08-21B4-4541-9171-1CEF4687C32B}" destId="{BD737DCA-AC3F-4AF2-84CF-5E2F856B303E}" srcOrd="0" destOrd="0" presId="urn:microsoft.com/office/officeart/2005/8/layout/hProcess9"/>
    <dgm:cxn modelId="{AB758885-02DB-4EBD-84D6-E7A0B9FC0C75}" type="presParOf" srcId="{803A1FAC-2AF3-4DE1-8073-C052B0EEFB76}" destId="{FD080FE3-05B5-4A9B-B4E2-2BBE621EBB82}" srcOrd="0" destOrd="0" presId="urn:microsoft.com/office/officeart/2005/8/layout/hProcess9"/>
    <dgm:cxn modelId="{A32B94CB-B15F-4419-A678-EB44614A2658}" type="presParOf" srcId="{803A1FAC-2AF3-4DE1-8073-C052B0EEFB76}" destId="{11F3689D-123A-4AB3-B945-322F10017585}" srcOrd="1" destOrd="0" presId="urn:microsoft.com/office/officeart/2005/8/layout/hProcess9"/>
    <dgm:cxn modelId="{66720F24-C52A-4A7B-8C7B-65D3424B2518}" type="presParOf" srcId="{11F3689D-123A-4AB3-B945-322F10017585}" destId="{640AA670-BFAF-4F7B-9FF4-AB893AEBABFD}" srcOrd="0" destOrd="0" presId="urn:microsoft.com/office/officeart/2005/8/layout/hProcess9"/>
    <dgm:cxn modelId="{BEF20989-6F4E-4D09-A636-4415183D94C8}" type="presParOf" srcId="{11F3689D-123A-4AB3-B945-322F10017585}" destId="{5F1DCEA1-C53B-4556-99D8-5A1F0A42C654}" srcOrd="1" destOrd="0" presId="urn:microsoft.com/office/officeart/2005/8/layout/hProcess9"/>
    <dgm:cxn modelId="{8367DCFC-1EF3-435D-9CEB-22B241B5FE6B}" type="presParOf" srcId="{11F3689D-123A-4AB3-B945-322F10017585}" destId="{5872A71C-4E76-4911-AB53-D04E19CB8E9A}" srcOrd="2" destOrd="0" presId="urn:microsoft.com/office/officeart/2005/8/layout/hProcess9"/>
    <dgm:cxn modelId="{AD7EF469-2DEB-459D-848D-288F506819AA}" type="presParOf" srcId="{11F3689D-123A-4AB3-B945-322F10017585}" destId="{1C7DFEEF-F66A-40BE-8830-6849A6652721}" srcOrd="3" destOrd="0" presId="urn:microsoft.com/office/officeart/2005/8/layout/hProcess9"/>
    <dgm:cxn modelId="{2B03A1F0-F9E5-4C1F-A33B-774362CC6C99}" type="presParOf" srcId="{11F3689D-123A-4AB3-B945-322F10017585}" destId="{C0CE7BA8-4CBF-47FD-AC94-4B61CC855C79}" srcOrd="4" destOrd="0" presId="urn:microsoft.com/office/officeart/2005/8/layout/hProcess9"/>
    <dgm:cxn modelId="{4C566823-9382-4AC2-8503-A07C21758CD4}" type="presParOf" srcId="{11F3689D-123A-4AB3-B945-322F10017585}" destId="{04C3A498-8E75-45DC-BAD4-013C0FFC36FE}" srcOrd="5" destOrd="0" presId="urn:microsoft.com/office/officeart/2005/8/layout/hProcess9"/>
    <dgm:cxn modelId="{4F7932C3-7035-4A2B-835D-25EAC7005144}" type="presParOf" srcId="{11F3689D-123A-4AB3-B945-322F10017585}" destId="{BD737DCA-AC3F-4AF2-84CF-5E2F856B303E}" srcOrd="6" destOrd="0" presId="urn:microsoft.com/office/officeart/2005/8/layout/hProcess9"/>
    <dgm:cxn modelId="{17C47C1C-01FB-43E0-B869-53D7BA5DC7CD}" type="presParOf" srcId="{11F3689D-123A-4AB3-B945-322F10017585}" destId="{A5410C46-671A-4353-B7FA-73D802AB2070}" srcOrd="7" destOrd="0" presId="urn:microsoft.com/office/officeart/2005/8/layout/hProcess9"/>
    <dgm:cxn modelId="{E599376F-6D9C-4D99-90C3-E21C8E00958B}" type="presParOf" srcId="{11F3689D-123A-4AB3-B945-322F10017585}" destId="{97DEE4A7-AB0F-4131-988D-A3D8D1320BED}"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CCF57B-AEFB-4578-B08A-0B38E3970C72}">
      <dsp:nvSpPr>
        <dsp:cNvPr id="0" name=""/>
        <dsp:cNvSpPr/>
      </dsp:nvSpPr>
      <dsp:spPr>
        <a:xfrm>
          <a:off x="2505482" y="1839360"/>
          <a:ext cx="1008845" cy="99518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Risk, FX/Investments, Cash </a:t>
          </a:r>
          <a:r>
            <a:rPr lang="en-US" sz="900" kern="1200" dirty="0" err="1">
              <a:solidFill>
                <a:schemeClr val="bg1"/>
              </a:solidFill>
            </a:rPr>
            <a:t>Mgmt</a:t>
          </a:r>
          <a:r>
            <a:rPr lang="en-US" sz="900" kern="1200" dirty="0">
              <a:solidFill>
                <a:schemeClr val="bg1"/>
              </a:solidFill>
            </a:rPr>
            <a:t>,</a:t>
          </a:r>
        </a:p>
        <a:p>
          <a:pPr marL="0" lvl="0" indent="0" algn="ctr" defTabSz="400050">
            <a:lnSpc>
              <a:spcPct val="90000"/>
            </a:lnSpc>
            <a:spcBef>
              <a:spcPct val="0"/>
            </a:spcBef>
            <a:spcAft>
              <a:spcPct val="35000"/>
            </a:spcAft>
            <a:buNone/>
          </a:pPr>
          <a:r>
            <a:rPr lang="en-US" sz="900" kern="1200" dirty="0">
              <a:solidFill>
                <a:schemeClr val="bg1"/>
              </a:solidFill>
            </a:rPr>
            <a:t>Customer Finance</a:t>
          </a:r>
        </a:p>
      </dsp:txBody>
      <dsp:txXfrm>
        <a:off x="2653224" y="1985101"/>
        <a:ext cx="713361" cy="703701"/>
      </dsp:txXfrm>
    </dsp:sp>
    <dsp:sp modelId="{74DB6621-98E6-47ED-8E45-6A42A4D16375}">
      <dsp:nvSpPr>
        <dsp:cNvPr id="0" name=""/>
        <dsp:cNvSpPr/>
      </dsp:nvSpPr>
      <dsp:spPr>
        <a:xfrm>
          <a:off x="2690577" y="3290999"/>
          <a:ext cx="544840" cy="503544"/>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rPr>
            <a:t>Cash </a:t>
          </a:r>
          <a:r>
            <a:rPr lang="en-US" sz="1000" kern="1200" dirty="0" err="1">
              <a:solidFill>
                <a:schemeClr val="bg1"/>
              </a:solidFill>
            </a:rPr>
            <a:t>Mgmt</a:t>
          </a:r>
          <a:r>
            <a:rPr lang="en-US" sz="1000" kern="1200" dirty="0">
              <a:solidFill>
                <a:schemeClr val="bg1"/>
              </a:solidFill>
            </a:rPr>
            <a:t>/CF</a:t>
          </a:r>
        </a:p>
      </dsp:txBody>
      <dsp:txXfrm>
        <a:off x="2770367" y="3364741"/>
        <a:ext cx="385260" cy="356060"/>
      </dsp:txXfrm>
    </dsp:sp>
    <dsp:sp modelId="{60EEC7ED-1C41-450C-9916-ACEED0F3020B}">
      <dsp:nvSpPr>
        <dsp:cNvPr id="0" name=""/>
        <dsp:cNvSpPr/>
      </dsp:nvSpPr>
      <dsp:spPr>
        <a:xfrm>
          <a:off x="1056556" y="2229964"/>
          <a:ext cx="482907" cy="49887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rPr>
            <a:t>Strategy</a:t>
          </a:r>
        </a:p>
      </dsp:txBody>
      <dsp:txXfrm>
        <a:off x="1127276" y="2303023"/>
        <a:ext cx="341467" cy="352760"/>
      </dsp:txXfrm>
    </dsp:sp>
    <dsp:sp modelId="{D7D948C9-9A6B-4465-B6E2-64A7AF1E0E6C}">
      <dsp:nvSpPr>
        <dsp:cNvPr id="0" name=""/>
        <dsp:cNvSpPr/>
      </dsp:nvSpPr>
      <dsp:spPr>
        <a:xfrm>
          <a:off x="3047997" y="639092"/>
          <a:ext cx="915964" cy="84708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rPr>
            <a:t>Cash </a:t>
          </a:r>
          <a:r>
            <a:rPr lang="en-US" sz="1000" kern="1200" dirty="0" err="1">
              <a:solidFill>
                <a:schemeClr val="bg1"/>
              </a:solidFill>
            </a:rPr>
            <a:t>Mgmt</a:t>
          </a:r>
          <a:r>
            <a:rPr lang="en-US" sz="1000" kern="1200" dirty="0">
              <a:solidFill>
                <a:schemeClr val="bg1"/>
              </a:solidFill>
            </a:rPr>
            <a:t>/</a:t>
          </a:r>
        </a:p>
        <a:p>
          <a:pPr marL="0" lvl="0" indent="0" algn="ctr" defTabSz="444500">
            <a:lnSpc>
              <a:spcPct val="90000"/>
            </a:lnSpc>
            <a:spcBef>
              <a:spcPct val="0"/>
            </a:spcBef>
            <a:spcAft>
              <a:spcPct val="35000"/>
            </a:spcAft>
            <a:buNone/>
          </a:pPr>
          <a:r>
            <a:rPr lang="en-US" sz="1000" kern="1200" dirty="0">
              <a:solidFill>
                <a:schemeClr val="bg1"/>
              </a:solidFill>
            </a:rPr>
            <a:t>Inhouse</a:t>
          </a:r>
        </a:p>
        <a:p>
          <a:pPr marL="0" lvl="0" indent="0" algn="ctr" defTabSz="444500">
            <a:lnSpc>
              <a:spcPct val="90000"/>
            </a:lnSpc>
            <a:spcBef>
              <a:spcPct val="0"/>
            </a:spcBef>
            <a:spcAft>
              <a:spcPct val="35000"/>
            </a:spcAft>
            <a:buNone/>
          </a:pPr>
          <a:r>
            <a:rPr lang="en-US" sz="1000" kern="1200" dirty="0">
              <a:solidFill>
                <a:schemeClr val="bg1"/>
              </a:solidFill>
            </a:rPr>
            <a:t>Bank/</a:t>
          </a:r>
        </a:p>
        <a:p>
          <a:pPr marL="0" lvl="0" indent="0" algn="ctr" defTabSz="444500">
            <a:lnSpc>
              <a:spcPct val="90000"/>
            </a:lnSpc>
            <a:spcBef>
              <a:spcPct val="0"/>
            </a:spcBef>
            <a:spcAft>
              <a:spcPct val="35000"/>
            </a:spcAft>
            <a:buNone/>
          </a:pPr>
          <a:r>
            <a:rPr lang="en-US" sz="1000" kern="1200" dirty="0">
              <a:solidFill>
                <a:schemeClr val="bg1"/>
              </a:solidFill>
            </a:rPr>
            <a:t>CF</a:t>
          </a:r>
        </a:p>
      </dsp:txBody>
      <dsp:txXfrm>
        <a:off x="3182137" y="763145"/>
        <a:ext cx="647684" cy="598983"/>
      </dsp:txXfrm>
    </dsp:sp>
    <dsp:sp modelId="{EF008440-8568-44A8-806B-0CE4F6FC3249}">
      <dsp:nvSpPr>
        <dsp:cNvPr id="0" name=""/>
        <dsp:cNvSpPr/>
      </dsp:nvSpPr>
      <dsp:spPr>
        <a:xfrm>
          <a:off x="5369485" y="2034323"/>
          <a:ext cx="583883" cy="59353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rPr>
            <a:t>Cash </a:t>
          </a:r>
          <a:r>
            <a:rPr lang="en-US" sz="1000" kern="1200" dirty="0" err="1">
              <a:solidFill>
                <a:schemeClr val="bg1"/>
              </a:solidFill>
            </a:rPr>
            <a:t>Mgmt</a:t>
          </a:r>
          <a:r>
            <a:rPr lang="en-US" sz="1000" kern="1200" dirty="0">
              <a:solidFill>
                <a:schemeClr val="bg1"/>
              </a:solidFill>
            </a:rPr>
            <a:t>/CF</a:t>
          </a:r>
        </a:p>
      </dsp:txBody>
      <dsp:txXfrm>
        <a:off x="5454993" y="2121244"/>
        <a:ext cx="412867" cy="4196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080FE3-05B5-4A9B-B4E2-2BBE621EBB82}">
      <dsp:nvSpPr>
        <dsp:cNvPr id="0" name=""/>
        <dsp:cNvSpPr/>
      </dsp:nvSpPr>
      <dsp:spPr>
        <a:xfrm>
          <a:off x="363066" y="0"/>
          <a:ext cx="4937987" cy="37592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0AA670-BFAF-4F7B-9FF4-AB893AEBABFD}">
      <dsp:nvSpPr>
        <dsp:cNvPr id="0" name=""/>
        <dsp:cNvSpPr/>
      </dsp:nvSpPr>
      <dsp:spPr>
        <a:xfrm>
          <a:off x="0" y="1142999"/>
          <a:ext cx="1019481" cy="142622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49767" y="1192766"/>
        <a:ext cx="919947" cy="1326691"/>
      </dsp:txXfrm>
    </dsp:sp>
    <dsp:sp modelId="{5872A71C-4E76-4911-AB53-D04E19CB8E9A}">
      <dsp:nvSpPr>
        <dsp:cNvPr id="0" name=""/>
        <dsp:cNvSpPr/>
      </dsp:nvSpPr>
      <dsp:spPr>
        <a:xfrm>
          <a:off x="1189567" y="1127760"/>
          <a:ext cx="1019481" cy="15036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lumMod val="85000"/>
                  <a:lumOff val="15000"/>
                </a:schemeClr>
              </a:solidFill>
            </a:rPr>
            <a:t>Design</a:t>
          </a:r>
        </a:p>
        <a:p>
          <a:pPr marL="0" lvl="0" indent="0" algn="ctr" defTabSz="533400">
            <a:lnSpc>
              <a:spcPct val="90000"/>
            </a:lnSpc>
            <a:spcBef>
              <a:spcPct val="0"/>
            </a:spcBef>
            <a:spcAft>
              <a:spcPct val="35000"/>
            </a:spcAft>
            <a:buNone/>
          </a:pPr>
          <a:r>
            <a:rPr lang="en-US" sz="900" kern="1200" dirty="0"/>
            <a:t>Configuration/Architecture </a:t>
          </a:r>
        </a:p>
        <a:p>
          <a:pPr marL="0" lvl="0" indent="0" algn="ctr" defTabSz="533400">
            <a:lnSpc>
              <a:spcPct val="90000"/>
            </a:lnSpc>
            <a:spcBef>
              <a:spcPct val="0"/>
            </a:spcBef>
            <a:spcAft>
              <a:spcPct val="35000"/>
            </a:spcAft>
            <a:buNone/>
          </a:pPr>
          <a:r>
            <a:rPr lang="en-US" sz="900" kern="1200" dirty="0"/>
            <a:t>IT teams </a:t>
          </a:r>
        </a:p>
        <a:p>
          <a:pPr marL="0" lvl="0" indent="0" algn="ctr" defTabSz="533400">
            <a:lnSpc>
              <a:spcPct val="90000"/>
            </a:lnSpc>
            <a:spcBef>
              <a:spcPct val="0"/>
            </a:spcBef>
            <a:spcAft>
              <a:spcPct val="35000"/>
            </a:spcAft>
            <a:buNone/>
          </a:pPr>
          <a:r>
            <a:rPr lang="en-US" sz="900" kern="1200" dirty="0"/>
            <a:t>Define timeline</a:t>
          </a:r>
        </a:p>
      </dsp:txBody>
      <dsp:txXfrm>
        <a:off x="1239334" y="1177527"/>
        <a:ext cx="919947" cy="1404146"/>
      </dsp:txXfrm>
    </dsp:sp>
    <dsp:sp modelId="{C0CE7BA8-4CBF-47FD-AC94-4B61CC855C79}">
      <dsp:nvSpPr>
        <dsp:cNvPr id="0" name=""/>
        <dsp:cNvSpPr/>
      </dsp:nvSpPr>
      <dsp:spPr>
        <a:xfrm>
          <a:off x="2451941" y="1143007"/>
          <a:ext cx="1019481" cy="15036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rgbClr val="FFFFFF"/>
            </a:solidFill>
            <a:latin typeface="Arial"/>
            <a:ea typeface="+mn-ea"/>
            <a:cs typeface="+mn-cs"/>
          </a:endParaRPr>
        </a:p>
        <a:p>
          <a:pPr marL="0" lvl="0" indent="0" algn="ctr" defTabSz="533400">
            <a:lnSpc>
              <a:spcPct val="90000"/>
            </a:lnSpc>
            <a:spcBef>
              <a:spcPct val="0"/>
            </a:spcBef>
            <a:spcAft>
              <a:spcPct val="35000"/>
            </a:spcAft>
            <a:buNone/>
          </a:pPr>
          <a:r>
            <a:rPr lang="en-US" sz="1200" kern="1200" dirty="0">
              <a:solidFill>
                <a:schemeClr val="tx1">
                  <a:lumMod val="85000"/>
                  <a:lumOff val="15000"/>
                </a:schemeClr>
              </a:solidFill>
              <a:latin typeface="Arial"/>
              <a:ea typeface="+mn-ea"/>
              <a:cs typeface="+mn-cs"/>
            </a:rPr>
            <a:t>Testing</a:t>
          </a:r>
        </a:p>
        <a:p>
          <a:pPr marL="0" lvl="0" algn="l" defTabSz="755650">
            <a:lnSpc>
              <a:spcPct val="90000"/>
            </a:lnSpc>
            <a:spcBef>
              <a:spcPct val="0"/>
            </a:spcBef>
            <a:spcAft>
              <a:spcPct val="35000"/>
            </a:spcAft>
            <a:buNone/>
          </a:pPr>
          <a:r>
            <a:rPr lang="en-US" sz="900" kern="1200" dirty="0"/>
            <a:t>Problem Solving</a:t>
          </a:r>
        </a:p>
        <a:p>
          <a:pPr marL="0" lvl="0" algn="l" defTabSz="755650">
            <a:lnSpc>
              <a:spcPct val="90000"/>
            </a:lnSpc>
            <a:spcBef>
              <a:spcPct val="0"/>
            </a:spcBef>
            <a:spcAft>
              <a:spcPct val="35000"/>
            </a:spcAft>
            <a:buNone/>
          </a:pPr>
          <a:r>
            <a:rPr lang="en-US" sz="900" kern="1200" dirty="0">
              <a:solidFill>
                <a:srgbClr val="FFFFFF"/>
              </a:solidFill>
              <a:latin typeface="Arial"/>
              <a:ea typeface="+mn-ea"/>
              <a:cs typeface="+mn-cs"/>
            </a:rPr>
            <a:t>Cutover Tasks Definition</a:t>
          </a:r>
        </a:p>
        <a:p>
          <a:pPr marL="0" lvl="0" algn="l" defTabSz="755650">
            <a:lnSpc>
              <a:spcPct val="90000"/>
            </a:lnSpc>
            <a:spcBef>
              <a:spcPct val="0"/>
            </a:spcBef>
            <a:spcAft>
              <a:spcPct val="35000"/>
            </a:spcAft>
            <a:buNone/>
          </a:pPr>
          <a:r>
            <a:rPr lang="en-US" sz="900" kern="1200" dirty="0">
              <a:solidFill>
                <a:srgbClr val="FFFFFF"/>
              </a:solidFill>
              <a:latin typeface="Arial"/>
              <a:ea typeface="+mn-ea"/>
              <a:cs typeface="+mn-cs"/>
            </a:rPr>
            <a:t>Timeline Communication</a:t>
          </a:r>
          <a:r>
            <a:rPr lang="en-US" sz="1700" kern="1200" dirty="0"/>
            <a:t>	</a:t>
          </a:r>
        </a:p>
      </dsp:txBody>
      <dsp:txXfrm>
        <a:off x="2501708" y="1192774"/>
        <a:ext cx="919947" cy="1404146"/>
      </dsp:txXfrm>
    </dsp:sp>
    <dsp:sp modelId="{BD737DCA-AC3F-4AF2-84CF-5E2F856B303E}">
      <dsp:nvSpPr>
        <dsp:cNvPr id="0" name=""/>
        <dsp:cNvSpPr/>
      </dsp:nvSpPr>
      <dsp:spPr>
        <a:xfrm>
          <a:off x="1539" y="1143007"/>
          <a:ext cx="1051472" cy="15036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tx1">
                  <a:lumMod val="85000"/>
                  <a:lumOff val="15000"/>
                </a:schemeClr>
              </a:solidFill>
            </a:rPr>
            <a:t>Requirements</a:t>
          </a:r>
        </a:p>
        <a:p>
          <a:pPr marL="0" lvl="0" indent="0" algn="ctr" defTabSz="488950">
            <a:lnSpc>
              <a:spcPct val="90000"/>
            </a:lnSpc>
            <a:spcBef>
              <a:spcPct val="0"/>
            </a:spcBef>
            <a:spcAft>
              <a:spcPct val="35000"/>
            </a:spcAft>
            <a:buNone/>
          </a:pPr>
          <a:r>
            <a:rPr lang="en-US" sz="900" kern="1200" dirty="0"/>
            <a:t>End Goal</a:t>
          </a:r>
        </a:p>
        <a:p>
          <a:pPr marL="0" lvl="0" indent="0" algn="ctr" defTabSz="488950">
            <a:lnSpc>
              <a:spcPct val="90000"/>
            </a:lnSpc>
            <a:spcBef>
              <a:spcPct val="0"/>
            </a:spcBef>
            <a:spcAft>
              <a:spcPct val="35000"/>
            </a:spcAft>
            <a:buNone/>
          </a:pPr>
          <a:r>
            <a:rPr lang="en-US" sz="900" kern="1200" dirty="0"/>
            <a:t>Funding/Budget</a:t>
          </a:r>
        </a:p>
        <a:p>
          <a:pPr marL="0" lvl="0" indent="0" algn="ctr" defTabSz="488950">
            <a:lnSpc>
              <a:spcPct val="90000"/>
            </a:lnSpc>
            <a:spcBef>
              <a:spcPct val="0"/>
            </a:spcBef>
            <a:spcAft>
              <a:spcPct val="35000"/>
            </a:spcAft>
            <a:buNone/>
          </a:pPr>
          <a:r>
            <a:rPr lang="en-US" sz="900" kern="1200" dirty="0"/>
            <a:t>User Look and Feel</a:t>
          </a:r>
        </a:p>
      </dsp:txBody>
      <dsp:txXfrm>
        <a:off x="52868" y="1194336"/>
        <a:ext cx="948814" cy="1401022"/>
      </dsp:txXfrm>
    </dsp:sp>
    <dsp:sp modelId="{97DEE4A7-AB0F-4131-988D-A3D8D1320BED}">
      <dsp:nvSpPr>
        <dsp:cNvPr id="0" name=""/>
        <dsp:cNvSpPr/>
      </dsp:nvSpPr>
      <dsp:spPr>
        <a:xfrm>
          <a:off x="3651465" y="1143007"/>
          <a:ext cx="1019481" cy="15036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lumMod val="85000"/>
                  <a:lumOff val="15000"/>
                </a:schemeClr>
              </a:solidFill>
              <a:latin typeface="Arial"/>
              <a:ea typeface="+mn-ea"/>
              <a:cs typeface="+mn-cs"/>
            </a:rPr>
            <a:t>End Product Approval</a:t>
          </a:r>
        </a:p>
        <a:p>
          <a:pPr marL="0" lvl="0" indent="0" algn="ctr" defTabSz="533400">
            <a:lnSpc>
              <a:spcPct val="90000"/>
            </a:lnSpc>
            <a:spcBef>
              <a:spcPct val="0"/>
            </a:spcBef>
            <a:spcAft>
              <a:spcPct val="35000"/>
            </a:spcAft>
            <a:buNone/>
          </a:pPr>
          <a:r>
            <a:rPr lang="en-US" sz="900" kern="1200" dirty="0">
              <a:solidFill>
                <a:srgbClr val="FFFFFF"/>
              </a:solidFill>
              <a:latin typeface="Arial"/>
              <a:ea typeface="+mn-ea"/>
              <a:cs typeface="+mn-cs"/>
            </a:rPr>
            <a:t>Final Demo</a:t>
          </a:r>
        </a:p>
      </dsp:txBody>
      <dsp:txXfrm>
        <a:off x="3701232" y="1192774"/>
        <a:ext cx="919947" cy="1404146"/>
      </dsp:txXfrm>
    </dsp:sp>
  </dsp:spTree>
</dsp:drawing>
</file>

<file path=ppt/diagrams/layout1.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Line 9"/>
          <p:cNvSpPr>
            <a:spLocks noChangeShapeType="1"/>
          </p:cNvSpPr>
          <p:nvPr/>
        </p:nvSpPr>
        <p:spPr bwMode="auto">
          <a:xfrm>
            <a:off x="160656" y="8921961"/>
            <a:ext cx="6689090" cy="0"/>
          </a:xfrm>
          <a:prstGeom prst="line">
            <a:avLst/>
          </a:prstGeom>
          <a:noFill/>
          <a:ln w="9525">
            <a:solidFill>
              <a:schemeClr val="tx1"/>
            </a:solidFill>
            <a:round/>
            <a:headEnd/>
            <a:tailEnd/>
          </a:ln>
          <a:effectLst/>
        </p:spPr>
        <p:txBody>
          <a:bodyPr lIns="92936" tIns="46470" rIns="92936" bIns="46470"/>
          <a:lstStyle/>
          <a:p>
            <a:pPr>
              <a:defRPr/>
            </a:pPr>
            <a:endParaRPr lang="en-US" dirty="0"/>
          </a:p>
        </p:txBody>
      </p:sp>
      <p:sp>
        <p:nvSpPr>
          <p:cNvPr id="7" name="Rectangle 6"/>
          <p:cNvSpPr>
            <a:spLocks noGrp="1" noChangeArrowheads="1"/>
          </p:cNvSpPr>
          <p:nvPr/>
        </p:nvSpPr>
        <p:spPr bwMode="auto">
          <a:xfrm>
            <a:off x="158907" y="8957147"/>
            <a:ext cx="3104373" cy="234024"/>
          </a:xfrm>
          <a:prstGeom prst="rect">
            <a:avLst/>
          </a:prstGeom>
          <a:noFill/>
          <a:ln w="9525">
            <a:noFill/>
            <a:miter lim="800000"/>
            <a:headEnd/>
            <a:tailEnd/>
          </a:ln>
          <a:effectLst/>
        </p:spPr>
        <p:txBody>
          <a:bodyPr vert="horz" wrap="square" lIns="94695" tIns="47348" rIns="94695" bIns="47348" numCol="1" anchor="b" anchorCtr="0" compatLnSpc="1">
            <a:prstTxWarp prst="textNoShape">
              <a:avLst/>
            </a:prstTxWarp>
          </a:bodyPr>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algn="l" defTabSz="947113">
              <a:defRPr/>
            </a:pPr>
            <a:r>
              <a:rPr lang="en-US" sz="1000" b="0" dirty="0"/>
              <a:t>Amgen Internal</a:t>
            </a:r>
          </a:p>
        </p:txBody>
      </p:sp>
      <p:sp>
        <p:nvSpPr>
          <p:cNvPr id="8" name="Rectangle 7"/>
          <p:cNvSpPr>
            <a:spLocks noGrp="1" noChangeArrowheads="1"/>
          </p:cNvSpPr>
          <p:nvPr/>
        </p:nvSpPr>
        <p:spPr bwMode="auto">
          <a:xfrm>
            <a:off x="3745502" y="8957147"/>
            <a:ext cx="3105997" cy="234024"/>
          </a:xfrm>
          <a:prstGeom prst="rect">
            <a:avLst/>
          </a:prstGeom>
          <a:noFill/>
          <a:ln w="9525">
            <a:noFill/>
            <a:miter lim="800000"/>
            <a:headEnd/>
            <a:tailEnd/>
          </a:ln>
          <a:effectLst/>
        </p:spPr>
        <p:txBody>
          <a:bodyPr vert="horz" wrap="square" lIns="94695" tIns="47348" rIns="94695" bIns="47348" numCol="1" anchor="b" anchorCtr="0" compatLnSpc="1">
            <a:prstTxWarp prst="textNoShape">
              <a:avLst/>
            </a:prstTxWarp>
          </a:bodyPr>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algn="r" defTabSz="947113">
              <a:defRPr/>
            </a:pPr>
            <a:fld id="{15AE3C97-AED3-4AEE-8471-1C50047147DC}" type="slidenum">
              <a:rPr lang="en-US" sz="1000" b="0"/>
              <a:pPr algn="r" defTabSz="947113">
                <a:defRPr/>
              </a:pPr>
              <a:t>‹#›</a:t>
            </a:fld>
            <a:endParaRPr lang="en-US" sz="1000" b="0" dirty="0"/>
          </a:p>
        </p:txBody>
      </p:sp>
    </p:spTree>
    <p:extLst>
      <p:ext uri="{BB962C8B-B14F-4D97-AF65-F5344CB8AC3E}">
        <p14:creationId xmlns:p14="http://schemas.microsoft.com/office/powerpoint/2010/main" val="93775865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8113" y="230188"/>
            <a:ext cx="6734175" cy="3787775"/>
          </a:xfrm>
          <a:prstGeom prst="rect">
            <a:avLst/>
          </a:prstGeom>
          <a:noFill/>
          <a:ln w="12700">
            <a:solidFill>
              <a:prstClr val="black"/>
            </a:solidFill>
          </a:ln>
        </p:spPr>
        <p:txBody>
          <a:bodyPr vert="horz" lIns="92936" tIns="46470" rIns="92936" bIns="46470" rtlCol="0" anchor="ctr"/>
          <a:lstStyle/>
          <a:p>
            <a:endParaRPr lang="en-US" dirty="0"/>
          </a:p>
        </p:txBody>
      </p:sp>
      <p:sp>
        <p:nvSpPr>
          <p:cNvPr id="5" name="Notes Placeholder 4"/>
          <p:cNvSpPr>
            <a:spLocks noGrp="1"/>
          </p:cNvSpPr>
          <p:nvPr>
            <p:ph type="body" sz="quarter" idx="3"/>
          </p:nvPr>
        </p:nvSpPr>
        <p:spPr>
          <a:xfrm>
            <a:off x="158907" y="4386741"/>
            <a:ext cx="6692595" cy="4473893"/>
          </a:xfrm>
          <a:prstGeom prst="rect">
            <a:avLst/>
          </a:prstGeom>
          <a:noFill/>
          <a:ln w="9525" algn="ctr">
            <a:noFill/>
            <a:miter lim="800000"/>
            <a:headEnd/>
            <a:tailEnd/>
          </a:ln>
        </p:spPr>
        <p:txBody>
          <a:bodyPr vert="horz" wrap="square" lIns="92936" tIns="46470" rIns="92936" bIns="4647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9"/>
          <p:cNvSpPr>
            <a:spLocks noChangeShapeType="1"/>
          </p:cNvSpPr>
          <p:nvPr/>
        </p:nvSpPr>
        <p:spPr bwMode="auto">
          <a:xfrm>
            <a:off x="160656" y="8921961"/>
            <a:ext cx="6689090" cy="0"/>
          </a:xfrm>
          <a:prstGeom prst="line">
            <a:avLst/>
          </a:prstGeom>
          <a:noFill/>
          <a:ln w="9525">
            <a:solidFill>
              <a:schemeClr val="tx1"/>
            </a:solidFill>
            <a:round/>
            <a:headEnd/>
            <a:tailEnd/>
          </a:ln>
          <a:effectLst/>
        </p:spPr>
        <p:txBody>
          <a:bodyPr lIns="92936" tIns="46470" rIns="92936" bIns="46470"/>
          <a:lstStyle/>
          <a:p>
            <a:pPr>
              <a:defRPr/>
            </a:pPr>
            <a:endParaRPr lang="en-US" dirty="0"/>
          </a:p>
        </p:txBody>
      </p:sp>
      <p:sp>
        <p:nvSpPr>
          <p:cNvPr id="8" name="Rectangle 7"/>
          <p:cNvSpPr>
            <a:spLocks noGrp="1" noChangeArrowheads="1"/>
          </p:cNvSpPr>
          <p:nvPr/>
        </p:nvSpPr>
        <p:spPr bwMode="auto">
          <a:xfrm>
            <a:off x="158907" y="8957147"/>
            <a:ext cx="3104373" cy="234024"/>
          </a:xfrm>
          <a:prstGeom prst="rect">
            <a:avLst/>
          </a:prstGeom>
          <a:noFill/>
          <a:ln w="9525">
            <a:noFill/>
            <a:miter lim="800000"/>
            <a:headEnd/>
            <a:tailEnd/>
          </a:ln>
          <a:effectLst/>
        </p:spPr>
        <p:txBody>
          <a:bodyPr vert="horz" wrap="square" lIns="94695" tIns="47348" rIns="94695" bIns="47348" numCol="1" anchor="b" anchorCtr="0" compatLnSpc="1">
            <a:prstTxWarp prst="textNoShape">
              <a:avLst/>
            </a:prstTxWarp>
          </a:bodyPr>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algn="l" defTabSz="947113">
              <a:defRPr/>
            </a:pPr>
            <a:r>
              <a:rPr lang="en-US" sz="1000" b="0" dirty="0"/>
              <a:t>Amgen Internal</a:t>
            </a:r>
          </a:p>
        </p:txBody>
      </p:sp>
      <p:sp>
        <p:nvSpPr>
          <p:cNvPr id="9" name="Rectangle 8"/>
          <p:cNvSpPr>
            <a:spLocks noGrp="1" noChangeArrowheads="1"/>
          </p:cNvSpPr>
          <p:nvPr/>
        </p:nvSpPr>
        <p:spPr bwMode="auto">
          <a:xfrm>
            <a:off x="3745502" y="8957147"/>
            <a:ext cx="3105997" cy="234024"/>
          </a:xfrm>
          <a:prstGeom prst="rect">
            <a:avLst/>
          </a:prstGeom>
          <a:noFill/>
          <a:ln w="9525">
            <a:noFill/>
            <a:miter lim="800000"/>
            <a:headEnd/>
            <a:tailEnd/>
          </a:ln>
          <a:effectLst/>
        </p:spPr>
        <p:txBody>
          <a:bodyPr vert="horz" wrap="square" lIns="94695" tIns="47348" rIns="94695" bIns="47348" numCol="1" anchor="b" anchorCtr="0" compatLnSpc="1">
            <a:prstTxWarp prst="textNoShape">
              <a:avLst/>
            </a:prstTxWarp>
          </a:bodyPr>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algn="r" defTabSz="947113" rtl="0" fontAlgn="base">
              <a:spcBef>
                <a:spcPct val="0"/>
              </a:spcBef>
              <a:spcAft>
                <a:spcPct val="0"/>
              </a:spcAft>
              <a:defRPr/>
            </a:pPr>
            <a:fld id="{15AE3C97-AED3-4AEE-8471-1C50047147DC}" type="slidenum">
              <a:rPr lang="en-US" sz="1000" b="0" kern="1200">
                <a:solidFill>
                  <a:schemeClr val="tx1"/>
                </a:solidFill>
                <a:latin typeface="Arial" charset="0"/>
                <a:ea typeface="+mn-ea"/>
                <a:cs typeface="+mn-cs"/>
              </a:rPr>
              <a:pPr algn="r" defTabSz="947113" rtl="0" fontAlgn="base">
                <a:spcBef>
                  <a:spcPct val="0"/>
                </a:spcBef>
                <a:spcAft>
                  <a:spcPct val="0"/>
                </a:spcAft>
                <a:defRPr/>
              </a:pPr>
              <a:t>‹#›</a:t>
            </a:fld>
            <a:endParaRPr lang="en-US" sz="1000" b="0" kern="1200" dirty="0">
              <a:solidFill>
                <a:schemeClr val="tx1"/>
              </a:solidFill>
              <a:latin typeface="Arial" charset="0"/>
              <a:ea typeface="+mn-ea"/>
              <a:cs typeface="+mn-cs"/>
            </a:endParaRPr>
          </a:p>
        </p:txBody>
      </p:sp>
    </p:spTree>
    <p:extLst>
      <p:ext uri="{BB962C8B-B14F-4D97-AF65-F5344CB8AC3E}">
        <p14:creationId xmlns:p14="http://schemas.microsoft.com/office/powerpoint/2010/main" val="380757160"/>
      </p:ext>
    </p:extLst>
  </p:cSld>
  <p:clrMap bg1="lt1" tx1="dk1" bg2="lt2" tx2="dk2" accent1="accent1" accent2="accent2" accent3="accent3" accent4="accent4" accent5="accent5" accent6="accent6" hlink="hlink" folHlink="folHlink"/>
  <p:hf dt="0"/>
  <p:notesStyle>
    <a:lvl1pPr marL="182880" indent="-182880" algn="l" defTabSz="914400" rtl="0" eaLnBrk="1" fontAlgn="base" latinLnBrk="0" hangingPunct="1">
      <a:lnSpc>
        <a:spcPct val="100000"/>
      </a:lnSpc>
      <a:spcBef>
        <a:spcPts val="600"/>
      </a:spcBef>
      <a:spcAft>
        <a:spcPct val="0"/>
      </a:spcAft>
      <a:buClrTx/>
      <a:buFont typeface="Arial" pitchFamily="34" charset="0"/>
      <a:buChar char="•"/>
      <a:defRPr lang="en-US" sz="1400" b="0" kern="1200" noProof="0" dirty="0" smtClean="0">
        <a:solidFill>
          <a:schemeClr val="tx1"/>
        </a:solidFill>
        <a:latin typeface="Arial" pitchFamily="34" charset="0"/>
        <a:ea typeface="+mn-ea"/>
        <a:cs typeface="Arial" pitchFamily="34" charset="0"/>
      </a:defRPr>
    </a:lvl1pPr>
    <a:lvl2pPr marL="457200" indent="-182880" algn="l" defTabSz="914400" rtl="0" eaLnBrk="1" fontAlgn="base" latinLnBrk="0" hangingPunct="1">
      <a:lnSpc>
        <a:spcPct val="100000"/>
      </a:lnSpc>
      <a:spcBef>
        <a:spcPts val="300"/>
      </a:spcBef>
      <a:spcAft>
        <a:spcPct val="0"/>
      </a:spcAft>
      <a:buClrTx/>
      <a:buFont typeface="Arial" pitchFamily="34" charset="0"/>
      <a:buChar char="–"/>
      <a:defRPr lang="en-US" sz="1200" b="0" kern="1200" noProof="0" dirty="0" smtClean="0">
        <a:solidFill>
          <a:schemeClr val="tx1"/>
        </a:solidFill>
        <a:latin typeface="Arial" pitchFamily="34" charset="0"/>
        <a:ea typeface="+mn-ea"/>
        <a:cs typeface="Arial" pitchFamily="34" charset="0"/>
      </a:defRPr>
    </a:lvl2pPr>
    <a:lvl3pPr marL="731520" indent="-182880" algn="l" defTabSz="914400" rtl="0" eaLnBrk="1" fontAlgn="base" latinLnBrk="0" hangingPunct="1">
      <a:lnSpc>
        <a:spcPct val="100000"/>
      </a:lnSpc>
      <a:spcBef>
        <a:spcPts val="300"/>
      </a:spcBef>
      <a:spcAft>
        <a:spcPct val="0"/>
      </a:spcAft>
      <a:buClrTx/>
      <a:buFont typeface="Arial" pitchFamily="34" charset="0"/>
      <a:buChar char="•"/>
      <a:defRPr lang="en-US" sz="1000" b="0" kern="1200" noProof="0" dirty="0" smtClean="0">
        <a:solidFill>
          <a:schemeClr val="tx1"/>
        </a:solidFill>
        <a:latin typeface="Arial" pitchFamily="34" charset="0"/>
        <a:ea typeface="+mn-ea"/>
        <a:cs typeface="Arial" pitchFamily="34" charset="0"/>
      </a:defRPr>
    </a:lvl3pPr>
    <a:lvl4pPr marL="1005840" indent="-182880" algn="l" defTabSz="914400" rtl="0" eaLnBrk="1" fontAlgn="base" latinLnBrk="0" hangingPunct="1">
      <a:lnSpc>
        <a:spcPct val="100000"/>
      </a:lnSpc>
      <a:spcBef>
        <a:spcPts val="300"/>
      </a:spcBef>
      <a:spcAft>
        <a:spcPct val="0"/>
      </a:spcAft>
      <a:buClrTx/>
      <a:buFont typeface="Arial" pitchFamily="34" charset="0"/>
      <a:buChar char="–"/>
      <a:defRPr lang="en-US" sz="900" b="0" kern="1200" noProof="0" dirty="0" smtClean="0">
        <a:solidFill>
          <a:schemeClr val="tx1"/>
        </a:solidFill>
        <a:latin typeface="Arial" pitchFamily="34" charset="0"/>
        <a:ea typeface="+mn-ea"/>
        <a:cs typeface="Arial" pitchFamily="34" charset="0"/>
      </a:defRPr>
    </a:lvl4pPr>
    <a:lvl5pPr marL="1280160" indent="-182880" algn="l" defTabSz="914400" rtl="0" eaLnBrk="1" fontAlgn="base" latinLnBrk="0" hangingPunct="1">
      <a:lnSpc>
        <a:spcPct val="100000"/>
      </a:lnSpc>
      <a:spcBef>
        <a:spcPts val="300"/>
      </a:spcBef>
      <a:spcAft>
        <a:spcPct val="0"/>
      </a:spcAft>
      <a:buClrTx/>
      <a:buFont typeface="Arial" pitchFamily="34" charset="0"/>
      <a:buChar char="•"/>
      <a:defRPr lang="en-US" sz="800" b="0" kern="1200" noProof="0" dirty="0" smtClean="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37446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0381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62132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6585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450789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04238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82075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07393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86297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63106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3563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81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0626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04903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1825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nl-NL"/>
          </a:p>
        </p:txBody>
      </p:sp>
      <p:sp>
        <p:nvSpPr>
          <p:cNvPr id="5" name="Footer Placeholder 4"/>
          <p:cNvSpPr>
            <a:spLocks noGrp="1"/>
          </p:cNvSpPr>
          <p:nvPr>
            <p:ph type="ftr" sz="quarter" idx="4"/>
          </p:nvPr>
        </p:nvSpPr>
        <p:spPr/>
        <p:txBody>
          <a:bodyPr/>
          <a:lstStyle/>
          <a:p>
            <a:endParaRPr lang="nl-NL"/>
          </a:p>
        </p:txBody>
      </p:sp>
      <p:sp>
        <p:nvSpPr>
          <p:cNvPr id="6" name="Slide Number Placeholder 5"/>
          <p:cNvSpPr>
            <a:spLocks noGrp="1"/>
          </p:cNvSpPr>
          <p:nvPr>
            <p:ph type="sldNum" sz="quarter" idx="5"/>
          </p:nvPr>
        </p:nvSpPr>
        <p:spPr/>
        <p:txBody>
          <a:bodyPr/>
          <a:lstStyle/>
          <a:p>
            <a:fld id="{2388A82E-F466-4548-BC2D-3A63292F3B94}" type="slidenum">
              <a:rPr lang="nl-NL" smtClean="0"/>
              <a:t>6</a:t>
            </a:fld>
            <a:endParaRPr lang="nl-NL"/>
          </a:p>
        </p:txBody>
      </p:sp>
    </p:spTree>
    <p:extLst>
      <p:ext uri="{BB962C8B-B14F-4D97-AF65-F5344CB8AC3E}">
        <p14:creationId xmlns:p14="http://schemas.microsoft.com/office/powerpoint/2010/main" val="3199102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nl-NL"/>
          </a:p>
        </p:txBody>
      </p:sp>
      <p:sp>
        <p:nvSpPr>
          <p:cNvPr id="5" name="Footer Placeholder 4"/>
          <p:cNvSpPr>
            <a:spLocks noGrp="1"/>
          </p:cNvSpPr>
          <p:nvPr>
            <p:ph type="ftr" sz="quarter" idx="4"/>
          </p:nvPr>
        </p:nvSpPr>
        <p:spPr/>
        <p:txBody>
          <a:bodyPr/>
          <a:lstStyle/>
          <a:p>
            <a:endParaRPr lang="nl-NL"/>
          </a:p>
        </p:txBody>
      </p:sp>
      <p:sp>
        <p:nvSpPr>
          <p:cNvPr id="6" name="Slide Number Placeholder 5"/>
          <p:cNvSpPr>
            <a:spLocks noGrp="1"/>
          </p:cNvSpPr>
          <p:nvPr>
            <p:ph type="sldNum" sz="quarter" idx="5"/>
          </p:nvPr>
        </p:nvSpPr>
        <p:spPr/>
        <p:txBody>
          <a:bodyPr/>
          <a:lstStyle/>
          <a:p>
            <a:fld id="{2388A82E-F466-4548-BC2D-3A63292F3B94}" type="slidenum">
              <a:rPr lang="nl-NL" smtClean="0"/>
              <a:t>7</a:t>
            </a:fld>
            <a:endParaRPr lang="nl-NL"/>
          </a:p>
        </p:txBody>
      </p:sp>
    </p:spTree>
    <p:extLst>
      <p:ext uri="{BB962C8B-B14F-4D97-AF65-F5344CB8AC3E}">
        <p14:creationId xmlns:p14="http://schemas.microsoft.com/office/powerpoint/2010/main" val="2916810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171450" indent="-171450">
              <a:buFontTx/>
              <a:buChar char="-"/>
            </a:pPr>
            <a:r>
              <a:rPr lang="en-US" sz="900" baseline="0" noProof="0" dirty="0"/>
              <a:t>Ability to merge payments from various runs using predefined rules and create batches that can be routed for approvals. There are many payment attributes (such as amount, payment origin, company code, payment methods, currency, house bank, and value date) that can be used to batch payments together. However, be aware of the fact that payments from the SAP ERP HCM (Human Capital Management) module cannot be merged with payments from AP and Treasury.</a:t>
            </a:r>
          </a:p>
          <a:p>
            <a:pPr marL="171450" indent="-171450">
              <a:buFontTx/>
              <a:buChar char="-"/>
            </a:pPr>
            <a:r>
              <a:rPr lang="en-US" sz="900" baseline="0" noProof="0" dirty="0"/>
              <a:t>The optional ability to approve payments before they are delivered to the bank. A payment batch can still be sent to the bank without approval, if approvals after the payment runs are not necessary. SAP Bank Communication Management provides functionality to have as many approvals as required using standard SAP workflow.</a:t>
            </a:r>
          </a:p>
          <a:p>
            <a:pPr marL="171450" indent="-171450">
              <a:buFontTx/>
              <a:buChar char="-"/>
            </a:pPr>
            <a:r>
              <a:rPr lang="en-US" sz="900" baseline="0" noProof="0" dirty="0"/>
              <a:t>The ability to import both file- and transaction-level acknowledgments into the SAP system. Upon successful import of acknowledgments, the payment batch status is updated in the SAP system. The Batch and Payment Monitor (BNK_MONI) in SAP Bank Communication Management shows all payments and their associated statuses.</a:t>
            </a:r>
          </a:p>
          <a:p>
            <a:pPr marL="171450" indent="-171450">
              <a:buFontTx/>
              <a:buChar char="-"/>
            </a:pPr>
            <a:r>
              <a:rPr lang="en-US" sz="900" baseline="0" noProof="0" dirty="0"/>
              <a:t>The ability to set up custom alerts if a batch status is not updated as per the agreed upon time frame. For example, if the file-level acknowledgment is not received from the bank within 15 minutes of sending the file to the bank, an alert is triggered.</a:t>
            </a:r>
          </a:p>
          <a:p>
            <a:pPr marL="171450" indent="-171450">
              <a:buFontTx/>
              <a:buChar char="-"/>
            </a:pPr>
            <a:r>
              <a:rPr lang="en-US" sz="900" baseline="0" noProof="0" dirty="0"/>
              <a:t> SAP Bank Communication Management’s bank statement monitor gives Treasury and bank reconciliation users a quick view of the status of bank statements imported for the day. The report also notifies users of any bank statements missing for the day.</a:t>
            </a:r>
          </a:p>
          <a:p>
            <a:pPr marL="171450" indent="-171450">
              <a:buFontTx/>
              <a:buChar char="-"/>
            </a:pPr>
            <a:r>
              <a:rPr lang="en-US" sz="900" baseline="0" noProof="0" dirty="0"/>
              <a:t>Payment fraud prevention</a:t>
            </a:r>
          </a:p>
          <a:p>
            <a:pPr marL="171450" indent="-171450">
              <a:buFontTx/>
              <a:buChar char="-"/>
            </a:pPr>
            <a:r>
              <a:rPr lang="en-US" sz="900" baseline="0" noProof="0" dirty="0"/>
              <a:t>Increase the efficiency and automation of payment processing and payment reconciliation</a:t>
            </a:r>
          </a:p>
          <a:p>
            <a:pPr marL="409533" lvl="1" indent="-228577" defTabSz="914307" fontAlgn="auto">
              <a:lnSpc>
                <a:spcPct val="100000"/>
              </a:lnSpc>
              <a:spcBef>
                <a:spcPts val="0"/>
              </a:spcBef>
              <a:spcAft>
                <a:spcPts val="0"/>
              </a:spcAft>
              <a:buFontTx/>
              <a:buAutoNum type="arabicPeriod"/>
              <a:defRPr/>
            </a:pPr>
            <a:endParaRPr lang="en-US" sz="1000" dirty="0">
              <a:latin typeface="+mn-lt"/>
            </a:endParaRPr>
          </a:p>
        </p:txBody>
      </p:sp>
      <p:sp>
        <p:nvSpPr>
          <p:cNvPr id="4" name="Slide Number Placeholder 3"/>
          <p:cNvSpPr>
            <a:spLocks noGrp="1"/>
          </p:cNvSpPr>
          <p:nvPr>
            <p:ph type="sldNum" sz="quarter" idx="10"/>
          </p:nvPr>
        </p:nvSpPr>
        <p:spPr>
          <a:xfrm>
            <a:off x="2931499" y="10451408"/>
            <a:ext cx="934681" cy="24073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301CE3-E213-46A0-8C17-914D4AC045A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202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71473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0.emf"/><Relationship Id="rId4" Type="http://schemas.openxmlformats.org/officeDocument/2006/relationships/oleObject" Target="../embeddings/oleObject30.bin"/></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4.emf"/><Relationship Id="rId4" Type="http://schemas.openxmlformats.org/officeDocument/2006/relationships/oleObject" Target="../embeddings/oleObject33.bin"/></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4.emf"/><Relationship Id="rId4" Type="http://schemas.openxmlformats.org/officeDocument/2006/relationships/oleObject" Target="../embeddings/oleObject34.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3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6.emf"/><Relationship Id="rId5" Type="http://schemas.openxmlformats.org/officeDocument/2006/relationships/oleObject" Target="../embeddings/oleObject35.bin"/><Relationship Id="rId4"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38.vml"/><Relationship Id="rId6" Type="http://schemas.openxmlformats.org/officeDocument/2006/relationships/image" Target="../media/image16.emf"/><Relationship Id="rId5" Type="http://schemas.openxmlformats.org/officeDocument/2006/relationships/oleObject" Target="../embeddings/oleObject36.bin"/><Relationship Id="rId4"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44.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8" y="4596222"/>
            <a:ext cx="1284927" cy="304711"/>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18830930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428928314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33223354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8891763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357354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5890823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424590736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45">
              <a:defRPr/>
            </a:pPr>
            <a:endParaRPr lang="en-US" sz="521" dirty="0">
              <a:solidFill>
                <a:srgbClr val="FFFFFF"/>
              </a:solidFill>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425223874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211611526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0311281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7369541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1442525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318716511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6048299" y="1007415"/>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9828277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310" y="1007415"/>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128490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2607967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26189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dirty="0"/>
              <a:t>Click icon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4" y="4592059"/>
            <a:ext cx="2081852" cy="380285"/>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3"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12666017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a:lnSpc>
                <a:spcPts val="3500"/>
              </a:lnSpc>
              <a:defRPr>
                <a:latin typeface="Calibri" pitchFamily="34" charset="0"/>
              </a:defRPr>
            </a:lvl1pPr>
          </a:lstStyle>
          <a:p>
            <a:r>
              <a:rPr lang="en-US"/>
              <a:t>Click to edit Master title style</a:t>
            </a:r>
            <a:endParaRPr lang="en-US" dirty="0"/>
          </a:p>
        </p:txBody>
      </p:sp>
      <p:sp>
        <p:nvSpPr>
          <p:cNvPr id="4" name="Table Placeholder 3"/>
          <p:cNvSpPr>
            <a:spLocks noGrp="1"/>
          </p:cNvSpPr>
          <p:nvPr>
            <p:ph type="tbl" sz="quarter" idx="10"/>
          </p:nvPr>
        </p:nvSpPr>
        <p:spPr>
          <a:xfrm>
            <a:off x="512064" y="1554480"/>
            <a:ext cx="8119872" cy="2926080"/>
          </a:xfrm>
        </p:spPr>
        <p:txBody>
          <a:bodyPr>
            <a:noAutofit/>
          </a:bodyPr>
          <a:lstStyle>
            <a:lvl1pPr>
              <a:defRPr>
                <a:latin typeface="+mn-lt"/>
              </a:defRPr>
            </a:lvl1pPr>
          </a:lstStyle>
          <a:p>
            <a:r>
              <a:rPr lang="en-US" dirty="0"/>
              <a:t>Click icon to add table</a:t>
            </a:r>
          </a:p>
        </p:txBody>
      </p:sp>
      <p:sp>
        <p:nvSpPr>
          <p:cNvPr id="6" name="Text Placeholder 6"/>
          <p:cNvSpPr>
            <a:spLocks noGrp="1"/>
          </p:cNvSpPr>
          <p:nvPr>
            <p:ph type="body" sz="quarter" idx="11"/>
          </p:nvPr>
        </p:nvSpPr>
        <p:spPr>
          <a:xfrm>
            <a:off x="512763" y="960121"/>
            <a:ext cx="8120062" cy="369332"/>
          </a:xfrm>
        </p:spPr>
        <p:txBody>
          <a:bodyPr>
            <a:noAutofit/>
          </a:bodyPr>
          <a:lstStyle>
            <a:lvl1pPr marL="0" indent="0">
              <a:buFontTx/>
              <a:buNone/>
              <a:defRPr sz="2800" b="1">
                <a:solidFill>
                  <a:schemeClr val="accent1"/>
                </a:solidFill>
                <a:latin typeface="Calibri" pitchFamily="34" charset="0"/>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Tree>
    <p:extLst>
      <p:ext uri="{BB962C8B-B14F-4D97-AF65-F5344CB8AC3E}">
        <p14:creationId xmlns:p14="http://schemas.microsoft.com/office/powerpoint/2010/main" val="104844703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3537" y="563275"/>
            <a:ext cx="8416925" cy="369332"/>
          </a:xfrm>
        </p:spPr>
        <p:txBody>
          <a:bodyPr/>
          <a:lstStyle>
            <a:lvl1pPr>
              <a:defRPr sz="1800"/>
            </a:lvl1pPr>
          </a:lstStyle>
          <a:p>
            <a:r>
              <a:rPr lang="en-US"/>
              <a:t>Click to edit Master title style</a:t>
            </a:r>
          </a:p>
        </p:txBody>
      </p:sp>
      <p:sp>
        <p:nvSpPr>
          <p:cNvPr id="3" name="Content Placeholder 2"/>
          <p:cNvSpPr>
            <a:spLocks noGrp="1"/>
          </p:cNvSpPr>
          <p:nvPr>
            <p:ph idx="1"/>
          </p:nvPr>
        </p:nvSpPr>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3424922"/>
      </p:ext>
    </p:extLst>
  </p:cSld>
  <p:clrMapOvr>
    <a:masterClrMapping/>
  </p:clrMapOvr>
  <p:transition>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9" y="4596223"/>
            <a:ext cx="1284927" cy="304711"/>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89178253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3696485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64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04718147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90633068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57125760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16573203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155429279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77388992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39555348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59041775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82125051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dirty="0">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31062651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89847892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864449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967849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756629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07563131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7497935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6331896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593071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74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6563840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43440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26357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23"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512763" y="4798219"/>
            <a:ext cx="2794000" cy="273844"/>
          </a:xfrm>
          <a:prstGeom prst="rect">
            <a:avLst/>
          </a:prstGeom>
        </p:spPr>
        <p:txBody>
          <a:bodyPr/>
          <a:lstStyle>
            <a:lvl1pPr>
              <a:defRPr/>
            </a:lvl1pPr>
          </a:lstStyle>
          <a:p>
            <a:endParaRPr lang="en-US" dirty="0">
              <a:solidFill>
                <a:srgbClr val="777777"/>
              </a:solidFill>
            </a:endParaRPr>
          </a:p>
        </p:txBody>
      </p:sp>
      <p:sp>
        <p:nvSpPr>
          <p:cNvPr id="5" name="Slide Number Placeholder 4"/>
          <p:cNvSpPr>
            <a:spLocks noGrp="1"/>
          </p:cNvSpPr>
          <p:nvPr>
            <p:ph type="sldNum" sz="quarter" idx="11"/>
          </p:nvPr>
        </p:nvSpPr>
        <p:spPr>
          <a:xfrm>
            <a:off x="3617913" y="4798219"/>
            <a:ext cx="1905000" cy="273844"/>
          </a:xfrm>
          <a:prstGeom prst="rect">
            <a:avLst/>
          </a:prstGeom>
        </p:spPr>
        <p:txBody>
          <a:bodyPr/>
          <a:lstStyle>
            <a:lvl1pPr algn="ctr">
              <a:defRPr sz="900"/>
            </a:lvl1pPr>
          </a:lstStyle>
          <a:p>
            <a:fld id="{DCF6910B-6A2E-41F0-8C2B-B9D3496C6F20}" type="slidenum">
              <a:rPr lang="en-US" smtClean="0">
                <a:solidFill>
                  <a:srgbClr val="777777"/>
                </a:solidFill>
              </a:rPr>
              <a:pPr/>
              <a:t>‹#›</a:t>
            </a:fld>
            <a:endParaRPr lang="en-US" dirty="0">
              <a:solidFill>
                <a:srgbClr val="777777"/>
              </a:solidFill>
            </a:endParaRPr>
          </a:p>
        </p:txBody>
      </p:sp>
      <p:sp>
        <p:nvSpPr>
          <p:cNvPr id="6" name="Date Placeholder 5"/>
          <p:cNvSpPr>
            <a:spLocks noGrp="1"/>
          </p:cNvSpPr>
          <p:nvPr>
            <p:ph type="dt" sz="half" idx="12"/>
          </p:nvPr>
        </p:nvSpPr>
        <p:spPr>
          <a:xfrm>
            <a:off x="5834063" y="4798219"/>
            <a:ext cx="1905000" cy="273844"/>
          </a:xfrm>
          <a:prstGeom prst="rect">
            <a:avLst/>
          </a:prstGeom>
        </p:spPr>
        <p:txBody>
          <a:bodyPr/>
          <a:lstStyle>
            <a:lvl1pPr>
              <a:defRPr/>
            </a:lvl1pPr>
          </a:lstStyle>
          <a:p>
            <a:endParaRPr lang="en-US" dirty="0">
              <a:solidFill>
                <a:srgbClr val="777777"/>
              </a:solidFill>
            </a:endParaRPr>
          </a:p>
        </p:txBody>
      </p:sp>
    </p:spTree>
    <p:extLst>
      <p:ext uri="{BB962C8B-B14F-4D97-AF65-F5344CB8AC3E}">
        <p14:creationId xmlns:p14="http://schemas.microsoft.com/office/powerpoint/2010/main" val="4155626041"/>
      </p:ext>
    </p:extLst>
  </p:cSld>
  <p:clrMapOvr>
    <a:masterClrMapping/>
  </p:clrMapOvr>
  <p:transition>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dirty="0"/>
              <a:t>Click icon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5" y="4592060"/>
            <a:ext cx="2081852" cy="380285"/>
          </a:xfrm>
          <a:prstGeom prst="rect">
            <a:avLst/>
          </a:prstGeom>
        </p:spPr>
      </p:pic>
      <p:sp>
        <p:nvSpPr>
          <p:cNvPr id="13" name="Text Placeholder 12"/>
          <p:cNvSpPr>
            <a:spLocks noGrp="1"/>
          </p:cNvSpPr>
          <p:nvPr>
            <p:ph type="body" sz="quarter" idx="13" hasCustomPrompt="1"/>
          </p:nvPr>
        </p:nvSpPr>
        <p:spPr>
          <a:xfrm>
            <a:off x="571501" y="4460431"/>
            <a:ext cx="7449344" cy="294856"/>
          </a:xfrm>
        </p:spPr>
        <p:txBody>
          <a:bodyPr tIns="0"/>
          <a:lstStyle>
            <a:lvl1pPr marL="0" indent="0" algn="l">
              <a:spcBef>
                <a:spcPts val="0"/>
              </a:spcBef>
              <a:spcAft>
                <a:spcPts val="0"/>
              </a:spcAft>
              <a:buNone/>
              <a:defRPr sz="15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18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3" y="1743075"/>
            <a:ext cx="7441435" cy="514350"/>
          </a:xfrm>
          <a:prstGeom prst="rect">
            <a:avLst/>
          </a:prstGeom>
        </p:spPr>
        <p:txBody>
          <a:bodyPr vert="horz" lIns="0" tIns="0" rIns="0" bIns="0" anchor="ctr">
            <a:noAutofit/>
          </a:bodyPr>
          <a:lstStyle>
            <a:lvl1pPr algn="l">
              <a:defRPr sz="27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75537138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8"/>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44711924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8"/>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540276"/>
            <a:ext cx="8416782" cy="392415"/>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36178148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8"/>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4" name="Content Placeholder 3"/>
          <p:cNvSpPr>
            <a:spLocks noGrp="1"/>
          </p:cNvSpPr>
          <p:nvPr>
            <p:ph sz="quarter" idx="10"/>
          </p:nvPr>
        </p:nvSpPr>
        <p:spPr>
          <a:xfrm>
            <a:off x="363540"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540195"/>
            <a:ext cx="8416925" cy="392415"/>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1800">
                <a:solidFill>
                  <a:schemeClr val="accent1"/>
                </a:solidFill>
                <a:latin typeface="+mj-lt"/>
              </a:defRPr>
            </a:lvl1pPr>
            <a:lvl2pPr marL="173831" indent="0">
              <a:buNone/>
              <a:defRPr sz="1650">
                <a:solidFill>
                  <a:schemeClr val="accent1"/>
                </a:solidFill>
                <a:latin typeface="+mj-lt"/>
              </a:defRPr>
            </a:lvl2pPr>
            <a:lvl3pPr marL="342900" indent="0">
              <a:buNone/>
              <a:defRPr sz="1650">
                <a:solidFill>
                  <a:schemeClr val="accent1"/>
                </a:solidFill>
                <a:latin typeface="+mj-lt"/>
              </a:defRPr>
            </a:lvl3pPr>
            <a:lvl4pPr marL="516731" indent="0">
              <a:buNone/>
              <a:defRPr sz="1650">
                <a:solidFill>
                  <a:schemeClr val="accent1"/>
                </a:solidFill>
                <a:latin typeface="+mj-lt"/>
              </a:defRPr>
            </a:lvl4pPr>
            <a:lvl5pPr marL="685800" indent="0">
              <a:buNone/>
              <a:defRPr sz="165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42814776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605220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5"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5"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2"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40" y="540276"/>
            <a:ext cx="8416925" cy="392415"/>
          </a:xfrm>
          <a:prstGeom prst="rect">
            <a:avLst/>
          </a:prstGeom>
        </p:spPr>
        <p:txBody>
          <a:bodyPr vert="horz" wrap="square" lIns="91440" tIns="45720" rIns="91440" bIns="45720" anchor="b" anchorCtr="0">
            <a:spAutoFit/>
          </a:bodyPr>
          <a:lstStyle>
            <a:lvl1pPr algn="l">
              <a:lnSpc>
                <a:spcPct val="100000"/>
              </a:lnSpc>
              <a:defRPr lang="en-US" sz="195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117711115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2" y="1007708"/>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3" y="1008065"/>
            <a:ext cx="3074009" cy="3551237"/>
          </a:xfrm>
          <a:solidFill>
            <a:schemeClr val="accent1"/>
          </a:solidFill>
        </p:spPr>
        <p:txBody>
          <a:bodyPr lIns="182880" rIns="274320" anchor="ctr"/>
          <a:lstStyle>
            <a:lvl1pPr marL="0" indent="0">
              <a:buNone/>
              <a:defRPr sz="1650">
                <a:solidFill>
                  <a:schemeClr val="bg1"/>
                </a:solidFill>
              </a:defRPr>
            </a:lvl1pPr>
            <a:lvl2pPr>
              <a:buClr>
                <a:schemeClr val="bg1"/>
              </a:buClr>
              <a:defRPr sz="1500">
                <a:solidFill>
                  <a:schemeClr val="bg1"/>
                </a:solidFill>
              </a:defRPr>
            </a:lvl2pPr>
            <a:lvl3pPr>
              <a:buClr>
                <a:schemeClr val="bg1"/>
              </a:buClr>
              <a:defRPr sz="1350">
                <a:solidFill>
                  <a:schemeClr val="bg1"/>
                </a:solidFill>
              </a:defRPr>
            </a:lvl3pPr>
            <a:lvl4pPr>
              <a:buClr>
                <a:schemeClr val="bg1"/>
              </a:buClr>
              <a:defRPr sz="1200">
                <a:solidFill>
                  <a:schemeClr val="bg1"/>
                </a:solidFill>
              </a:defRPr>
            </a:lvl4pPr>
            <a:lvl5pPr>
              <a:buClr>
                <a:schemeClr val="bg1"/>
              </a:buCl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40" y="540276"/>
            <a:ext cx="8416925" cy="392415"/>
          </a:xfrm>
          <a:prstGeom prst="rect">
            <a:avLst/>
          </a:prstGeom>
        </p:spPr>
        <p:txBody>
          <a:bodyPr vert="horz" wrap="square" lIns="91440" tIns="45720" rIns="91440" bIns="45720" anchor="b" anchorCtr="0">
            <a:spAutoFit/>
          </a:bodyPr>
          <a:lstStyle>
            <a:lvl1pPr algn="l">
              <a:defRPr sz="195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37962270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2"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47162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40" y="1280161"/>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84413251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15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40"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1800">
                <a:solidFill>
                  <a:schemeClr val="accent1"/>
                </a:solidFill>
                <a:latin typeface="+mj-lt"/>
              </a:defRPr>
            </a:lvl1pPr>
            <a:lvl2pPr marL="173831" indent="0">
              <a:buNone/>
              <a:defRPr sz="1800">
                <a:solidFill>
                  <a:schemeClr val="accent1"/>
                </a:solidFill>
                <a:latin typeface="+mj-lt"/>
              </a:defRPr>
            </a:lvl2pPr>
            <a:lvl3pPr marL="342900" indent="0">
              <a:buNone/>
              <a:defRPr sz="1800">
                <a:solidFill>
                  <a:schemeClr val="accent1"/>
                </a:solidFill>
                <a:latin typeface="+mj-lt"/>
              </a:defRPr>
            </a:lvl3pPr>
            <a:lvl4pPr marL="516731" indent="0">
              <a:buNone/>
              <a:defRPr sz="1800">
                <a:solidFill>
                  <a:schemeClr val="accent1"/>
                </a:solidFill>
                <a:latin typeface="+mj-lt"/>
              </a:defRPr>
            </a:lvl4pPr>
            <a:lvl5pPr marL="685800" indent="0">
              <a:buNone/>
              <a:defRPr sz="180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385926344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8"/>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436534">
              <a:defRPr/>
            </a:pPr>
            <a:endParaRPr lang="en-US" sz="391" dirty="0">
              <a:solidFill>
                <a:srgbClr val="FFFFFF"/>
              </a:solidFill>
            </a:endParaRPr>
          </a:p>
        </p:txBody>
      </p:sp>
      <p:sp>
        <p:nvSpPr>
          <p:cNvPr id="11" name="Text Placeholder 10"/>
          <p:cNvSpPr>
            <a:spLocks noGrp="1"/>
          </p:cNvSpPr>
          <p:nvPr>
            <p:ph type="body" sz="quarter" idx="16"/>
          </p:nvPr>
        </p:nvSpPr>
        <p:spPr>
          <a:xfrm>
            <a:off x="1" y="1007708"/>
            <a:ext cx="2556164" cy="3551594"/>
          </a:xfrm>
          <a:solidFill>
            <a:schemeClr val="accent1"/>
          </a:solidFill>
        </p:spPr>
        <p:txBody>
          <a:bodyPr lIns="274320" tIns="137160" rIns="91440" bIns="182880" anchor="ctr"/>
          <a:lstStyle>
            <a:lvl1pPr marL="0" indent="0" algn="l">
              <a:buClr>
                <a:schemeClr val="bg1"/>
              </a:buClr>
              <a:buNone/>
              <a:defRPr sz="1500">
                <a:solidFill>
                  <a:schemeClr val="bg1"/>
                </a:solidFill>
              </a:defRPr>
            </a:lvl1pPr>
            <a:lvl2pPr marL="127397" indent="0" algn="ctr">
              <a:buClr>
                <a:schemeClr val="bg1"/>
              </a:buClr>
              <a:buNone/>
              <a:defRPr>
                <a:solidFill>
                  <a:schemeClr val="bg1"/>
                </a:solidFill>
              </a:defRPr>
            </a:lvl2pPr>
            <a:lvl3pPr marL="258365"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1" y="1146176"/>
            <a:ext cx="6001729" cy="352425"/>
          </a:xfrm>
        </p:spPr>
        <p:txBody>
          <a:bodyPr/>
          <a:lstStyle>
            <a:lvl1pPr marL="0" indent="0">
              <a:buNone/>
              <a:defRPr sz="1800">
                <a:solidFill>
                  <a:schemeClr val="accent1"/>
                </a:solidFill>
                <a:latin typeface="+mj-lt"/>
              </a:defRPr>
            </a:lvl1pPr>
            <a:lvl2pPr marL="173831" indent="0">
              <a:buNone/>
              <a:defRPr sz="1800">
                <a:solidFill>
                  <a:schemeClr val="accent1"/>
                </a:solidFill>
                <a:latin typeface="+mj-lt"/>
              </a:defRPr>
            </a:lvl2pPr>
            <a:lvl3pPr marL="342900" indent="0">
              <a:buNone/>
              <a:defRPr sz="1800">
                <a:solidFill>
                  <a:schemeClr val="accent1"/>
                </a:solidFill>
                <a:latin typeface="+mj-lt"/>
              </a:defRPr>
            </a:lvl3pPr>
            <a:lvl4pPr marL="516731" indent="0">
              <a:buNone/>
              <a:defRPr sz="1800">
                <a:solidFill>
                  <a:schemeClr val="accent1"/>
                </a:solidFill>
                <a:latin typeface="+mj-lt"/>
              </a:defRPr>
            </a:lvl4pPr>
            <a:lvl5pPr marL="685800" indent="0">
              <a:buNone/>
              <a:defRPr sz="180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385940834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362658690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8"/>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45286203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8"/>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6" y="3734944"/>
            <a:ext cx="2763693" cy="671804"/>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4"/>
            <a:ext cx="2763693" cy="671804"/>
          </a:xfrm>
          <a:solidFill>
            <a:schemeClr val="accent1"/>
          </a:solidFill>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0401717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2" y="1007708"/>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7" y="1007708"/>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409"/>
              </a:spcBef>
              <a:buNone/>
              <a:defRPr sz="15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878486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6048299" y="1007415"/>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3015733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8"/>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8" name="Picture Placeholder 7"/>
          <p:cNvSpPr>
            <a:spLocks noGrp="1"/>
          </p:cNvSpPr>
          <p:nvPr>
            <p:ph type="pic" sz="quarter" idx="14"/>
          </p:nvPr>
        </p:nvSpPr>
        <p:spPr>
          <a:xfrm>
            <a:off x="6048301" y="1007417"/>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4"/>
            <a:ext cx="3096096" cy="688759"/>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2"/>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0544955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8"/>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8" name="Picture Placeholder 7"/>
          <p:cNvSpPr>
            <a:spLocks noGrp="1"/>
          </p:cNvSpPr>
          <p:nvPr>
            <p:ph type="pic" sz="quarter" idx="14"/>
          </p:nvPr>
        </p:nvSpPr>
        <p:spPr>
          <a:xfrm>
            <a:off x="-309" y="1007417"/>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3"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76264660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09636364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42469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9319119"/>
      </p:ext>
    </p:extLst>
  </p:cSld>
  <p:clrMapOvr>
    <a:masterClrMapping/>
  </p:clrMapOvr>
  <p:transition>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132790" y="202993"/>
            <a:ext cx="8858250" cy="392415"/>
          </a:xfrm>
        </p:spPr>
        <p:txBody>
          <a:bodyPr/>
          <a:lstStyle>
            <a:lvl1pPr>
              <a:defRPr>
                <a:solidFill>
                  <a:srgbClr val="001C3A"/>
                </a:solidFill>
                <a:latin typeface="Arial Narrow" pitchFamily="34" charset="0"/>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161926" y="771526"/>
            <a:ext cx="8734425" cy="3879056"/>
          </a:xfrm>
        </p:spPr>
        <p:txBody>
          <a:bodyPr/>
          <a:lstStyle>
            <a:lvl1pPr>
              <a:defRPr>
                <a:latin typeface="Arial Narrow" pitchFamily="34" charset="0"/>
              </a:defRPr>
            </a:lvl1pPr>
            <a:lvl2pPr>
              <a:defRPr>
                <a:latin typeface="Arial Narrow" pitchFamily="34" charset="0"/>
              </a:defRPr>
            </a:lvl2pPr>
            <a:lvl3pPr>
              <a:defRPr>
                <a:latin typeface="Arial Narrow" pitchFamily="34" charset="0"/>
              </a:defRPr>
            </a:lvl3pPr>
            <a:lvl4pPr>
              <a:defRPr>
                <a:latin typeface="Arial Narrow" pitchFamily="34" charset="0"/>
              </a:defRPr>
            </a:lvl4pPr>
            <a:lvl5pPr>
              <a:defRPr>
                <a:latin typeface="Arial Narrow"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39221872"/>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2064" y="1234038"/>
            <a:ext cx="8119872" cy="122341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p:nvPr>
        </p:nvSpPr>
        <p:spPr>
          <a:xfrm>
            <a:off x="379413" y="579137"/>
            <a:ext cx="8443912" cy="392415"/>
          </a:xfrm>
        </p:spPr>
        <p:txBody>
          <a:bodyPr/>
          <a:lstStyle>
            <a:lvl1pPr algn="l">
              <a:defRPr/>
            </a:lvl1pPr>
          </a:lstStyle>
          <a:p>
            <a:r>
              <a:rPr lang="en-US" dirty="0"/>
              <a:t>Click to edit Master title style</a:t>
            </a:r>
          </a:p>
        </p:txBody>
      </p:sp>
    </p:spTree>
    <p:extLst>
      <p:ext uri="{BB962C8B-B14F-4D97-AF65-F5344CB8AC3E}">
        <p14:creationId xmlns:p14="http://schemas.microsoft.com/office/powerpoint/2010/main" val="3432933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dirty="0"/>
              <a:t>Click icon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5" y="4592060"/>
            <a:ext cx="2081852" cy="380285"/>
          </a:xfrm>
          <a:prstGeom prst="rect">
            <a:avLst/>
          </a:prstGeom>
        </p:spPr>
      </p:pic>
      <p:sp>
        <p:nvSpPr>
          <p:cNvPr id="13" name="Text Placeholder 12"/>
          <p:cNvSpPr>
            <a:spLocks noGrp="1"/>
          </p:cNvSpPr>
          <p:nvPr>
            <p:ph type="body" sz="quarter" idx="13" hasCustomPrompt="1"/>
          </p:nvPr>
        </p:nvSpPr>
        <p:spPr>
          <a:xfrm>
            <a:off x="571501" y="4460431"/>
            <a:ext cx="7449344" cy="294856"/>
          </a:xfrm>
        </p:spPr>
        <p:txBody>
          <a:bodyPr tIns="0"/>
          <a:lstStyle>
            <a:lvl1pPr marL="0" indent="0" algn="l">
              <a:spcBef>
                <a:spcPts val="0"/>
              </a:spcBef>
              <a:spcAft>
                <a:spcPts val="0"/>
              </a:spcAft>
              <a:buNone/>
              <a:defRPr sz="15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18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3" y="1743075"/>
            <a:ext cx="7441435" cy="514350"/>
          </a:xfrm>
          <a:prstGeom prst="rect">
            <a:avLst/>
          </a:prstGeom>
        </p:spPr>
        <p:txBody>
          <a:bodyPr vert="horz" lIns="0" tIns="0" rIns="0" bIns="0" anchor="ctr">
            <a:noAutofit/>
          </a:bodyPr>
          <a:lstStyle>
            <a:lvl1pPr algn="l">
              <a:defRPr sz="27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45573320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8"/>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56577522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8"/>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540276"/>
            <a:ext cx="8416782" cy="392415"/>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1159906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310" y="1007415"/>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3705124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8"/>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4" name="Content Placeholder 3"/>
          <p:cNvSpPr>
            <a:spLocks noGrp="1"/>
          </p:cNvSpPr>
          <p:nvPr>
            <p:ph sz="quarter" idx="10"/>
          </p:nvPr>
        </p:nvSpPr>
        <p:spPr>
          <a:xfrm>
            <a:off x="363540"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540195"/>
            <a:ext cx="8416925" cy="392415"/>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1800">
                <a:solidFill>
                  <a:schemeClr val="accent1"/>
                </a:solidFill>
                <a:latin typeface="+mj-lt"/>
              </a:defRPr>
            </a:lvl1pPr>
            <a:lvl2pPr marL="173831" indent="0">
              <a:buNone/>
              <a:defRPr sz="1650">
                <a:solidFill>
                  <a:schemeClr val="accent1"/>
                </a:solidFill>
                <a:latin typeface="+mj-lt"/>
              </a:defRPr>
            </a:lvl2pPr>
            <a:lvl3pPr marL="342900" indent="0">
              <a:buNone/>
              <a:defRPr sz="1650">
                <a:solidFill>
                  <a:schemeClr val="accent1"/>
                </a:solidFill>
                <a:latin typeface="+mj-lt"/>
              </a:defRPr>
            </a:lvl3pPr>
            <a:lvl4pPr marL="516731" indent="0">
              <a:buNone/>
              <a:defRPr sz="1650">
                <a:solidFill>
                  <a:schemeClr val="accent1"/>
                </a:solidFill>
                <a:latin typeface="+mj-lt"/>
              </a:defRPr>
            </a:lvl4pPr>
            <a:lvl5pPr marL="685800" indent="0">
              <a:buNone/>
              <a:defRPr sz="165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319886222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5"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5"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2"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40" y="540276"/>
            <a:ext cx="8416925" cy="392415"/>
          </a:xfrm>
          <a:prstGeom prst="rect">
            <a:avLst/>
          </a:prstGeom>
        </p:spPr>
        <p:txBody>
          <a:bodyPr vert="horz" wrap="square" lIns="91440" tIns="45720" rIns="91440" bIns="45720" anchor="b" anchorCtr="0">
            <a:spAutoFit/>
          </a:bodyPr>
          <a:lstStyle>
            <a:lvl1pPr algn="l">
              <a:lnSpc>
                <a:spcPct val="100000"/>
              </a:lnSpc>
              <a:defRPr lang="en-US" sz="195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424081700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2" y="1007708"/>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3" y="1008065"/>
            <a:ext cx="3074009" cy="3551237"/>
          </a:xfrm>
          <a:solidFill>
            <a:schemeClr val="accent1"/>
          </a:solidFill>
        </p:spPr>
        <p:txBody>
          <a:bodyPr lIns="182880" rIns="274320" anchor="ctr"/>
          <a:lstStyle>
            <a:lvl1pPr marL="0" indent="0">
              <a:buNone/>
              <a:defRPr sz="1650">
                <a:solidFill>
                  <a:schemeClr val="bg1"/>
                </a:solidFill>
              </a:defRPr>
            </a:lvl1pPr>
            <a:lvl2pPr>
              <a:buClr>
                <a:schemeClr val="bg1"/>
              </a:buClr>
              <a:defRPr sz="1500">
                <a:solidFill>
                  <a:schemeClr val="bg1"/>
                </a:solidFill>
              </a:defRPr>
            </a:lvl2pPr>
            <a:lvl3pPr>
              <a:buClr>
                <a:schemeClr val="bg1"/>
              </a:buClr>
              <a:defRPr sz="1350">
                <a:solidFill>
                  <a:schemeClr val="bg1"/>
                </a:solidFill>
              </a:defRPr>
            </a:lvl3pPr>
            <a:lvl4pPr>
              <a:buClr>
                <a:schemeClr val="bg1"/>
              </a:buClr>
              <a:defRPr sz="1200">
                <a:solidFill>
                  <a:schemeClr val="bg1"/>
                </a:solidFill>
              </a:defRPr>
            </a:lvl4pPr>
            <a:lvl5pPr>
              <a:buClr>
                <a:schemeClr val="bg1"/>
              </a:buCl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40" y="540276"/>
            <a:ext cx="8416925" cy="392415"/>
          </a:xfrm>
          <a:prstGeom prst="rect">
            <a:avLst/>
          </a:prstGeom>
        </p:spPr>
        <p:txBody>
          <a:bodyPr vert="horz" wrap="square" lIns="91440" tIns="45720" rIns="91440" bIns="45720" anchor="b" anchorCtr="0">
            <a:spAutoFit/>
          </a:bodyPr>
          <a:lstStyle>
            <a:lvl1pPr algn="l">
              <a:defRPr sz="195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37731888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2"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8065411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40" y="1280161"/>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72919136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15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40"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1800">
                <a:solidFill>
                  <a:schemeClr val="accent1"/>
                </a:solidFill>
                <a:latin typeface="+mj-lt"/>
              </a:defRPr>
            </a:lvl1pPr>
            <a:lvl2pPr marL="173831" indent="0">
              <a:buNone/>
              <a:defRPr sz="1800">
                <a:solidFill>
                  <a:schemeClr val="accent1"/>
                </a:solidFill>
                <a:latin typeface="+mj-lt"/>
              </a:defRPr>
            </a:lvl2pPr>
            <a:lvl3pPr marL="342900" indent="0">
              <a:buNone/>
              <a:defRPr sz="1800">
                <a:solidFill>
                  <a:schemeClr val="accent1"/>
                </a:solidFill>
                <a:latin typeface="+mj-lt"/>
              </a:defRPr>
            </a:lvl3pPr>
            <a:lvl4pPr marL="516731" indent="0">
              <a:buNone/>
              <a:defRPr sz="1800">
                <a:solidFill>
                  <a:schemeClr val="accent1"/>
                </a:solidFill>
                <a:latin typeface="+mj-lt"/>
              </a:defRPr>
            </a:lvl4pPr>
            <a:lvl5pPr marL="685800" indent="0">
              <a:buNone/>
              <a:defRPr sz="180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356248348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8"/>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436534">
              <a:defRPr/>
            </a:pPr>
            <a:endParaRPr lang="en-US" sz="391" dirty="0">
              <a:solidFill>
                <a:srgbClr val="FFFFFF"/>
              </a:solidFill>
            </a:endParaRPr>
          </a:p>
        </p:txBody>
      </p:sp>
      <p:sp>
        <p:nvSpPr>
          <p:cNvPr id="11" name="Text Placeholder 10"/>
          <p:cNvSpPr>
            <a:spLocks noGrp="1"/>
          </p:cNvSpPr>
          <p:nvPr>
            <p:ph type="body" sz="quarter" idx="16"/>
          </p:nvPr>
        </p:nvSpPr>
        <p:spPr>
          <a:xfrm>
            <a:off x="1" y="1007708"/>
            <a:ext cx="2556164" cy="3551594"/>
          </a:xfrm>
          <a:solidFill>
            <a:schemeClr val="accent1"/>
          </a:solidFill>
        </p:spPr>
        <p:txBody>
          <a:bodyPr lIns="274320" tIns="137160" rIns="91440" bIns="182880" anchor="ctr"/>
          <a:lstStyle>
            <a:lvl1pPr marL="0" indent="0" algn="l">
              <a:buClr>
                <a:schemeClr val="bg1"/>
              </a:buClr>
              <a:buNone/>
              <a:defRPr sz="1500">
                <a:solidFill>
                  <a:schemeClr val="bg1"/>
                </a:solidFill>
              </a:defRPr>
            </a:lvl1pPr>
            <a:lvl2pPr marL="127397" indent="0" algn="ctr">
              <a:buClr>
                <a:schemeClr val="bg1"/>
              </a:buClr>
              <a:buNone/>
              <a:defRPr>
                <a:solidFill>
                  <a:schemeClr val="bg1"/>
                </a:solidFill>
              </a:defRPr>
            </a:lvl2pPr>
            <a:lvl3pPr marL="258365"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1" y="1146176"/>
            <a:ext cx="6001729" cy="352425"/>
          </a:xfrm>
        </p:spPr>
        <p:txBody>
          <a:bodyPr/>
          <a:lstStyle>
            <a:lvl1pPr marL="0" indent="0">
              <a:buNone/>
              <a:defRPr sz="1800">
                <a:solidFill>
                  <a:schemeClr val="accent1"/>
                </a:solidFill>
                <a:latin typeface="+mj-lt"/>
              </a:defRPr>
            </a:lvl1pPr>
            <a:lvl2pPr marL="173831" indent="0">
              <a:buNone/>
              <a:defRPr sz="1800">
                <a:solidFill>
                  <a:schemeClr val="accent1"/>
                </a:solidFill>
                <a:latin typeface="+mj-lt"/>
              </a:defRPr>
            </a:lvl2pPr>
            <a:lvl3pPr marL="342900" indent="0">
              <a:buNone/>
              <a:defRPr sz="1800">
                <a:solidFill>
                  <a:schemeClr val="accent1"/>
                </a:solidFill>
                <a:latin typeface="+mj-lt"/>
              </a:defRPr>
            </a:lvl3pPr>
            <a:lvl4pPr marL="516731" indent="0">
              <a:buNone/>
              <a:defRPr sz="1800">
                <a:solidFill>
                  <a:schemeClr val="accent1"/>
                </a:solidFill>
                <a:latin typeface="+mj-lt"/>
              </a:defRPr>
            </a:lvl4pPr>
            <a:lvl5pPr marL="685800" indent="0">
              <a:buNone/>
              <a:defRPr sz="180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224084648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5258395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8"/>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18197376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8"/>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6" y="3734944"/>
            <a:ext cx="2763693" cy="671804"/>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4"/>
            <a:ext cx="2763693" cy="671804"/>
          </a:xfrm>
          <a:solidFill>
            <a:schemeClr val="accent1"/>
          </a:solidFill>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567573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8160434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2" y="1007708"/>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7" y="1007708"/>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409"/>
              </a:spcBef>
              <a:buNone/>
              <a:defRPr sz="15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1436583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8"/>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8" name="Picture Placeholder 7"/>
          <p:cNvSpPr>
            <a:spLocks noGrp="1"/>
          </p:cNvSpPr>
          <p:nvPr>
            <p:ph type="pic" sz="quarter" idx="14"/>
          </p:nvPr>
        </p:nvSpPr>
        <p:spPr>
          <a:xfrm>
            <a:off x="6048301" y="1007417"/>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4"/>
            <a:ext cx="3096096" cy="688759"/>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2"/>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021770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8"/>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dirty="0">
              <a:solidFill>
                <a:srgbClr val="FFFFFF"/>
              </a:solidFill>
            </a:endParaRPr>
          </a:p>
        </p:txBody>
      </p:sp>
      <p:sp>
        <p:nvSpPr>
          <p:cNvPr id="8" name="Picture Placeholder 7"/>
          <p:cNvSpPr>
            <a:spLocks noGrp="1"/>
          </p:cNvSpPr>
          <p:nvPr>
            <p:ph type="pic" sz="quarter" idx="14"/>
          </p:nvPr>
        </p:nvSpPr>
        <p:spPr>
          <a:xfrm>
            <a:off x="-309" y="1007417"/>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3"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8697318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4187585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01755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342545"/>
      </p:ext>
    </p:extLst>
  </p:cSld>
  <p:clrMapOvr>
    <a:masterClrMapping/>
  </p:clrMapOvr>
  <p:transition>
    <p:wipe dir="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132790" y="202993"/>
            <a:ext cx="8858250" cy="392415"/>
          </a:xfrm>
        </p:spPr>
        <p:txBody>
          <a:bodyPr/>
          <a:lstStyle>
            <a:lvl1pPr>
              <a:defRPr>
                <a:solidFill>
                  <a:srgbClr val="001C3A"/>
                </a:solidFill>
                <a:latin typeface="Arial Narrow" pitchFamily="34" charset="0"/>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161926" y="771526"/>
            <a:ext cx="8734425" cy="3879056"/>
          </a:xfrm>
        </p:spPr>
        <p:txBody>
          <a:bodyPr/>
          <a:lstStyle>
            <a:lvl1pPr>
              <a:defRPr>
                <a:latin typeface="Arial Narrow" pitchFamily="34" charset="0"/>
              </a:defRPr>
            </a:lvl1pPr>
            <a:lvl2pPr>
              <a:defRPr>
                <a:latin typeface="Arial Narrow" pitchFamily="34" charset="0"/>
              </a:defRPr>
            </a:lvl2pPr>
            <a:lvl3pPr>
              <a:defRPr>
                <a:latin typeface="Arial Narrow" pitchFamily="34" charset="0"/>
              </a:defRPr>
            </a:lvl3pPr>
            <a:lvl4pPr>
              <a:defRPr>
                <a:latin typeface="Arial Narrow" pitchFamily="34" charset="0"/>
              </a:defRPr>
            </a:lvl4pPr>
            <a:lvl5pPr>
              <a:defRPr>
                <a:latin typeface="Arial Narrow"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94315269"/>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2064" y="1234038"/>
            <a:ext cx="8119872" cy="122341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p:nvPr>
        </p:nvSpPr>
        <p:spPr>
          <a:xfrm>
            <a:off x="379413" y="579137"/>
            <a:ext cx="8443912" cy="392415"/>
          </a:xfrm>
        </p:spPr>
        <p:txBody>
          <a:bodyPr/>
          <a:lstStyle>
            <a:lvl1pPr algn="l">
              <a:defRPr/>
            </a:lvl1pPr>
          </a:lstStyle>
          <a:p>
            <a:r>
              <a:rPr lang="en-US" dirty="0"/>
              <a:t>Click to edit Master title style</a:t>
            </a:r>
          </a:p>
        </p:txBody>
      </p:sp>
    </p:spTree>
    <p:extLst>
      <p:ext uri="{BB962C8B-B14F-4D97-AF65-F5344CB8AC3E}">
        <p14:creationId xmlns:p14="http://schemas.microsoft.com/office/powerpoint/2010/main" val="2335613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9" y="4596223"/>
            <a:ext cx="1284927" cy="304711"/>
          </a:xfrm>
          <a:prstGeom prst="rect">
            <a:avLst/>
          </a:prstGeom>
        </p:spPr>
      </p:pic>
    </p:spTree>
    <p:extLst>
      <p:ext uri="{BB962C8B-B14F-4D97-AF65-F5344CB8AC3E}">
        <p14:creationId xmlns:p14="http://schemas.microsoft.com/office/powerpoint/2010/main" val="232481872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6494573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04874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65906736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93297476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173594248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422296199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0964538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6323347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91711117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dirty="0">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05065075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52042097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26343513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8" y="4596222"/>
            <a:ext cx="1284927" cy="304711"/>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38263873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9699995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102066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01880873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0933017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7829050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63049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8" y="4596222"/>
            <a:ext cx="1284927" cy="304711"/>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54619751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11450188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9261360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8631914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4736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99389713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80034491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299043596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19848562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28754857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42328128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03861214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45">
              <a:defRPr/>
            </a:pPr>
            <a:endParaRPr lang="en-US" sz="521" dirty="0">
              <a:solidFill>
                <a:srgbClr val="FFFFFF"/>
              </a:solidFill>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8794034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98760377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23458354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41964003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8728405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91822528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6048299" y="1007415"/>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42318616"/>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310" y="1007415"/>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3244026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13914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3118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0" y="4798219"/>
            <a:ext cx="9144000" cy="273844"/>
          </a:xfrm>
          <a:prstGeom prst="rect">
            <a:avLst/>
          </a:prstGeom>
        </p:spPr>
        <p:txBody>
          <a:bodyPr/>
          <a:lstStyle>
            <a:lvl1pPr algn="r">
              <a:defRPr lang="en-US"/>
            </a:lvl1pPr>
          </a:lstStyle>
          <a:p>
            <a:endParaRPr>
              <a:solidFill>
                <a:srgbClr val="000000"/>
              </a:solidFill>
            </a:endParaRPr>
          </a:p>
        </p:txBody>
      </p:sp>
    </p:spTree>
    <p:extLst>
      <p:ext uri="{BB962C8B-B14F-4D97-AF65-F5344CB8AC3E}">
        <p14:creationId xmlns:p14="http://schemas.microsoft.com/office/powerpoint/2010/main" val="4241346688"/>
      </p:ext>
    </p:extLst>
  </p:cSld>
  <p:clrMapOvr>
    <a:masterClrMapping/>
  </p:clrMapOvr>
  <p:transition>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4" name="Content Placeholder 3"/>
          <p:cNvSpPr>
            <a:spLocks noGrp="1"/>
          </p:cNvSpPr>
          <p:nvPr>
            <p:ph sz="quarter" idx="14"/>
          </p:nvPr>
        </p:nvSpPr>
        <p:spPr>
          <a:xfrm>
            <a:off x="363538" y="1280160"/>
            <a:ext cx="4132262" cy="31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
        <p:nvSpPr>
          <p:cNvPr id="5" name="Content Placeholder 3"/>
          <p:cNvSpPr>
            <a:spLocks noGrp="1"/>
          </p:cNvSpPr>
          <p:nvPr>
            <p:ph sz="quarter" idx="15"/>
          </p:nvPr>
        </p:nvSpPr>
        <p:spPr>
          <a:xfrm>
            <a:off x="4648058" y="1280160"/>
            <a:ext cx="4132262" cy="31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421326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dirty="0"/>
              <a:t>Click icon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5" y="4592059"/>
            <a:ext cx="2081852" cy="380285"/>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27690351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86924023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91466791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235707301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422302026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32237032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405423341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04875192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75175419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30768741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dirty="0">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265163161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9803539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26366378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09173446"/>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1281825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336944152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8438632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7123409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2682060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92167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a:t>Click icon to add pictur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4" y="4592058"/>
            <a:ext cx="2081852" cy="380285"/>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4312136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01635480"/>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848378"/>
            <a:ext cx="9144000" cy="38413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62032857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74046085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a:t>Click icon to add picture</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275547171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5638374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04622407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1294437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32205241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17473331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65478724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369183826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55315469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8129394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a:t>Click icon to add picture</a:t>
            </a:r>
            <a:endParaRPr lang="en-US" dirty="0"/>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6774095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6048299" y="1007415"/>
            <a:ext cx="3096491" cy="2863127"/>
          </a:xfrm>
        </p:spPr>
        <p:txBody>
          <a:bodyPr/>
          <a:lstStyle/>
          <a:p>
            <a:r>
              <a:rPr lang="en-US"/>
              <a:t>Click icon to add picture</a:t>
            </a:r>
            <a:endParaRPr lang="en-US" dirty="0"/>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7885137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310" y="1007415"/>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772724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120361515"/>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8289331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2050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2764" y="1096566"/>
            <a:ext cx="3983037" cy="3361134"/>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96566"/>
            <a:ext cx="3983038" cy="3361134"/>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512763" y="4798219"/>
            <a:ext cx="2794000" cy="273844"/>
          </a:xfrm>
          <a:prstGeom prst="rect">
            <a:avLst/>
          </a:prstGeom>
        </p:spPr>
        <p:txBody>
          <a:bodyPr/>
          <a:lstStyle>
            <a:lvl1pPr>
              <a:defRPr/>
            </a:lvl1pPr>
          </a:lstStyle>
          <a:p>
            <a:endParaRPr lang="en-US"/>
          </a:p>
        </p:txBody>
      </p:sp>
      <p:sp>
        <p:nvSpPr>
          <p:cNvPr id="6" name="Slide Number Placeholder 5"/>
          <p:cNvSpPr>
            <a:spLocks noGrp="1"/>
          </p:cNvSpPr>
          <p:nvPr>
            <p:ph type="sldNum" sz="quarter" idx="11"/>
          </p:nvPr>
        </p:nvSpPr>
        <p:spPr>
          <a:xfrm>
            <a:off x="3617913" y="4798219"/>
            <a:ext cx="1905000" cy="273844"/>
          </a:xfrm>
          <a:prstGeom prst="rect">
            <a:avLst/>
          </a:prstGeom>
        </p:spPr>
        <p:txBody>
          <a:bodyPr/>
          <a:lstStyle>
            <a:lvl1pPr>
              <a:defRPr/>
            </a:lvl1pPr>
          </a:lstStyle>
          <a:p>
            <a:fld id="{4A69BD12-97FC-46B6-86B1-243DE89909FB}" type="slidenum">
              <a:rPr lang="en-US" smtClean="0"/>
              <a:pPr/>
              <a:t>‹#›</a:t>
            </a:fld>
            <a:endParaRPr lang="en-US"/>
          </a:p>
        </p:txBody>
      </p:sp>
      <p:sp>
        <p:nvSpPr>
          <p:cNvPr id="7" name="Date Placeholder 6"/>
          <p:cNvSpPr>
            <a:spLocks noGrp="1"/>
          </p:cNvSpPr>
          <p:nvPr>
            <p:ph type="dt" sz="half" idx="12"/>
          </p:nvPr>
        </p:nvSpPr>
        <p:spPr>
          <a:xfrm>
            <a:off x="5834063" y="4798219"/>
            <a:ext cx="1905000" cy="273844"/>
          </a:xfrm>
          <a:prstGeom prst="rect">
            <a:avLst/>
          </a:prstGeom>
        </p:spPr>
        <p:txBody>
          <a:bodyPr/>
          <a:lstStyle>
            <a:lvl1pPr>
              <a:defRPr/>
            </a:lvl1pPr>
          </a:lstStyle>
          <a:p>
            <a:fld id="{4EBCBD0A-DF72-48A2-9458-86B5AA7AB35E}" type="datetimeFigureOut">
              <a:rPr lang="en-US" smtClean="0"/>
              <a:pPr/>
              <a:t>11/18/2019</a:t>
            </a:fld>
            <a:endParaRPr lang="en-US"/>
          </a:p>
        </p:txBody>
      </p:sp>
    </p:spTree>
    <p:extLst>
      <p:ext uri="{BB962C8B-B14F-4D97-AF65-F5344CB8AC3E}">
        <p14:creationId xmlns:p14="http://schemas.microsoft.com/office/powerpoint/2010/main" val="1049979930"/>
      </p:ext>
    </p:extLst>
  </p:cSld>
  <p:clrMapOvr>
    <a:masterClrMapping/>
  </p:clrMapOvr>
  <p:transition>
    <p:wipe dir="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31210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8" y="4596222"/>
            <a:ext cx="1284927" cy="304711"/>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12458542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0615095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52953274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665468353"/>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365486540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63784415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74240651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17590004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74522917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489006195"/>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914883082"/>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2604907413"/>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5715326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76070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3788320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6048299" y="1007415"/>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77488088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310" y="1007415"/>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0194332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75519618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01159568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5296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a:t>Click icon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4" y="4592058"/>
            <a:ext cx="2081852" cy="380285"/>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6028341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5518738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25194746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85110969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a:t>Click icon to add picture</a:t>
            </a:r>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397938502"/>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92087970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24643165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2213800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45">
              <a:defRPr/>
            </a:pPr>
            <a:endParaRPr lang="en-US" sz="521" dirty="0">
              <a:solidFill>
                <a:srgbClr val="FFFFFF"/>
              </a:solidFill>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57526714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932811286"/>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00006159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464747000"/>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91471164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3199944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71220884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6048299" y="1007415"/>
            <a:ext cx="3096491" cy="2863127"/>
          </a:xfrm>
        </p:spPr>
        <p:txBody>
          <a:bodyPr/>
          <a:lstStyle/>
          <a:p>
            <a:r>
              <a:rPr lang="en-US"/>
              <a:t>Click icon to add picture</a:t>
            </a:r>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3374849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310" y="1007415"/>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5831992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50925390"/>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2780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981035031"/>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6715" name="think-cell Slide" r:id="rId4" imgW="415" imgH="416" progId="TCLayout.ActiveDocument.1">
                  <p:embed/>
                </p:oleObj>
              </mc:Choice>
              <mc:Fallback>
                <p:oleObj name="think-cell Slide" r:id="rId4" imgW="415" imgH="416"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p:nvPr>
        </p:nvSpPr>
        <p:spPr>
          <a:xfrm>
            <a:off x="685800" y="521208"/>
            <a:ext cx="7772400" cy="445770"/>
          </a:xfrm>
        </p:spPr>
        <p:txBody>
          <a:bodyPr vert="horz" lIns="0" tIns="45720" rIns="0" bIns="0" rtlCol="0" anchor="b" anchorCtr="0">
            <a:noAutofit/>
          </a:bodyPr>
          <a:lstStyle>
            <a:lvl1pPr>
              <a:defRPr lang="en-US" sz="2100" b="0" spc="-56" dirty="0">
                <a:latin typeface="+mj-lt"/>
              </a:defRPr>
            </a:lvl1pPr>
          </a:lstStyle>
          <a:p>
            <a:pPr lvl="0" defTabSz="514350">
              <a:lnSpc>
                <a:spcPct val="85000"/>
              </a:lnSpc>
            </a:pPr>
            <a:r>
              <a:rPr lang="en-US" dirty="0"/>
              <a:t>Click to edit Master title style</a:t>
            </a:r>
          </a:p>
        </p:txBody>
      </p:sp>
      <p:sp>
        <p:nvSpPr>
          <p:cNvPr id="4" name="Text Placeholder 8"/>
          <p:cNvSpPr>
            <a:spLocks noGrp="1"/>
          </p:cNvSpPr>
          <p:nvPr>
            <p:ph type="body" sz="quarter" idx="14"/>
          </p:nvPr>
        </p:nvSpPr>
        <p:spPr>
          <a:xfrm>
            <a:off x="686041" y="1014984"/>
            <a:ext cx="7772160" cy="356616"/>
          </a:xfrm>
        </p:spPr>
        <p:txBody>
          <a:bodyPr vert="horz" lIns="0" tIns="0" rIns="0" bIns="0" rtlCol="0">
            <a:noAutofit/>
          </a:bodyPr>
          <a:lstStyle>
            <a:lvl1pPr marL="0" indent="0">
              <a:buNone/>
              <a:defRPr lang="en-US" sz="1050">
                <a:solidFill>
                  <a:schemeClr val="bg1">
                    <a:lumMod val="50000"/>
                  </a:schemeClr>
                </a:solidFill>
              </a:defRPr>
            </a:lvl1pPr>
          </a:lstStyle>
          <a:p>
            <a:pPr marL="171450" lvl="0" indent="-171450">
              <a:lnSpc>
                <a:spcPct val="130000"/>
              </a:lnSpc>
            </a:pPr>
            <a:r>
              <a:rPr lang="en-US"/>
              <a:t>Edit Master text styles</a:t>
            </a:r>
          </a:p>
        </p:txBody>
      </p:sp>
    </p:spTree>
    <p:extLst>
      <p:ext uri="{BB962C8B-B14F-4D97-AF65-F5344CB8AC3E}">
        <p14:creationId xmlns:p14="http://schemas.microsoft.com/office/powerpoint/2010/main" val="105775811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altLang="ja-JP" dirty="0"/>
              <a:t>Click icon to add pictur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4" y="4592058"/>
            <a:ext cx="2081852" cy="380285"/>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87512560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83690909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74254098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0"/>
          </p:nvPr>
        </p:nvSpPr>
        <p:spPr>
          <a:xfrm>
            <a:off x="363538" y="1554480"/>
            <a:ext cx="8416925" cy="292417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ltLang="ja-JP"/>
              <a:t>Click to edit Master text styles</a:t>
            </a:r>
          </a:p>
        </p:txBody>
      </p:sp>
    </p:spTree>
    <p:extLst>
      <p:ext uri="{BB962C8B-B14F-4D97-AF65-F5344CB8AC3E}">
        <p14:creationId xmlns:p14="http://schemas.microsoft.com/office/powerpoint/2010/main" val="422312905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altLang="ja-JP" dirty="0"/>
              <a:t>Click icon to add picture</a:t>
            </a:r>
            <a:endParaRPr lang="en-US" dirty="0"/>
          </a:p>
        </p:txBody>
      </p:sp>
      <p:sp>
        <p:nvSpPr>
          <p:cNvPr id="13" name="Picture Placeholder 12"/>
          <p:cNvSpPr>
            <a:spLocks noGrp="1"/>
          </p:cNvSpPr>
          <p:nvPr>
            <p:ph type="pic" sz="quarter" idx="14"/>
          </p:nvPr>
        </p:nvSpPr>
        <p:spPr>
          <a:xfrm>
            <a:off x="6066253" y="1007705"/>
            <a:ext cx="3075709" cy="3551595"/>
          </a:xfrm>
        </p:spPr>
        <p:txBody>
          <a:bodyPr/>
          <a:lstStyle/>
          <a:p>
            <a:r>
              <a:rPr lang="en-US" altLang="ja-JP" dirty="0"/>
              <a:t>Click icon to add picture</a:t>
            </a:r>
            <a:endParaRPr lang="en-US" dirty="0"/>
          </a:p>
        </p:txBody>
      </p:sp>
      <p:sp>
        <p:nvSpPr>
          <p:cNvPr id="6" name="Picture Placeholder 5"/>
          <p:cNvSpPr>
            <a:spLocks noGrp="1"/>
          </p:cNvSpPr>
          <p:nvPr>
            <p:ph type="pic" sz="quarter" idx="15"/>
          </p:nvPr>
        </p:nvSpPr>
        <p:spPr>
          <a:xfrm>
            <a:off x="0" y="1007705"/>
            <a:ext cx="3075709" cy="3551595"/>
          </a:xfrm>
        </p:spPr>
        <p:txBody>
          <a:bodyPr/>
          <a:lstStyle/>
          <a:p>
            <a:r>
              <a:rPr lang="en-US" altLang="ja-JP" dirty="0"/>
              <a:t>Click icon to add picture</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558945320"/>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altLang="ja-JP" dirty="0"/>
              <a:t>Click icon to add picture</a:t>
            </a:r>
            <a:endParaRPr lang="en-US" dirty="0"/>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657526278"/>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ltLang="ja-JP"/>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56878851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ltLang="ja-JP"/>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96157208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ltLang="ja-JP"/>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ltLang="ja-JP"/>
              <a:t>Click to edit Master text styles</a:t>
            </a:r>
          </a:p>
        </p:txBody>
      </p:sp>
    </p:spTree>
    <p:extLst>
      <p:ext uri="{BB962C8B-B14F-4D97-AF65-F5344CB8AC3E}">
        <p14:creationId xmlns:p14="http://schemas.microsoft.com/office/powerpoint/2010/main" val="114874333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5517867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89453928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ltLang="ja-JP"/>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ltLang="ja-JP"/>
              <a:t>Click to edit Master text styles</a:t>
            </a:r>
          </a:p>
        </p:txBody>
      </p:sp>
    </p:spTree>
    <p:extLst>
      <p:ext uri="{BB962C8B-B14F-4D97-AF65-F5344CB8AC3E}">
        <p14:creationId xmlns:p14="http://schemas.microsoft.com/office/powerpoint/2010/main" val="413706576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altLang="ja-JP" dirty="0"/>
              <a:t>Click icon to add picture</a:t>
            </a:r>
            <a:endParaRPr lang="en-US" dirty="0"/>
          </a:p>
        </p:txBody>
      </p:sp>
      <p:sp>
        <p:nvSpPr>
          <p:cNvPr id="6" name="Picture Placeholder 5"/>
          <p:cNvSpPr>
            <a:spLocks noGrp="1"/>
          </p:cNvSpPr>
          <p:nvPr>
            <p:ph type="pic" sz="quarter" idx="12"/>
          </p:nvPr>
        </p:nvSpPr>
        <p:spPr>
          <a:xfrm>
            <a:off x="0" y="2833068"/>
            <a:ext cx="2265218" cy="1727301"/>
          </a:xfrm>
        </p:spPr>
        <p:txBody>
          <a:bodyPr/>
          <a:lstStyle/>
          <a:p>
            <a:r>
              <a:rPr lang="en-US" altLang="ja-JP" dirty="0"/>
              <a:t>Click icon to add picture</a:t>
            </a:r>
            <a:endParaRPr lang="en-US" dirty="0"/>
          </a:p>
        </p:txBody>
      </p:sp>
      <p:sp>
        <p:nvSpPr>
          <p:cNvPr id="8" name="Picture Placeholder 7"/>
          <p:cNvSpPr>
            <a:spLocks noGrp="1"/>
          </p:cNvSpPr>
          <p:nvPr>
            <p:ph type="pic" sz="quarter" idx="13"/>
          </p:nvPr>
        </p:nvSpPr>
        <p:spPr>
          <a:xfrm>
            <a:off x="0" y="1007706"/>
            <a:ext cx="4572000" cy="1784480"/>
          </a:xfrm>
        </p:spPr>
        <p:txBody>
          <a:bodyPr/>
          <a:lstStyle/>
          <a:p>
            <a:r>
              <a:rPr lang="en-US" altLang="ja-JP" dirty="0"/>
              <a:t>Click icon to add picture</a:t>
            </a:r>
            <a:endParaRPr lang="en-US" dirty="0"/>
          </a:p>
        </p:txBody>
      </p:sp>
      <p:sp>
        <p:nvSpPr>
          <p:cNvPr id="10" name="Picture Placeholder 9"/>
          <p:cNvSpPr>
            <a:spLocks noGrp="1"/>
          </p:cNvSpPr>
          <p:nvPr>
            <p:ph type="pic" sz="quarter" idx="14"/>
          </p:nvPr>
        </p:nvSpPr>
        <p:spPr>
          <a:xfrm>
            <a:off x="6891543" y="2833068"/>
            <a:ext cx="2244436" cy="1726232"/>
          </a:xfrm>
        </p:spPr>
        <p:txBody>
          <a:bodyPr/>
          <a:lstStyle/>
          <a:p>
            <a:r>
              <a:rPr lang="en-US" altLang="ja-JP" dirty="0"/>
              <a:t>Click icon to add picture</a:t>
            </a:r>
            <a:endParaRPr lang="en-US" dirty="0"/>
          </a:p>
        </p:txBody>
      </p:sp>
      <p:sp>
        <p:nvSpPr>
          <p:cNvPr id="12" name="Picture Placeholder 11"/>
          <p:cNvSpPr>
            <a:spLocks noGrp="1"/>
          </p:cNvSpPr>
          <p:nvPr>
            <p:ph type="pic" sz="quarter" idx="15"/>
          </p:nvPr>
        </p:nvSpPr>
        <p:spPr>
          <a:xfrm>
            <a:off x="6889720" y="1007706"/>
            <a:ext cx="2244436" cy="1784480"/>
          </a:xfrm>
        </p:spPr>
        <p:txBody>
          <a:bodyPr/>
          <a:lstStyle/>
          <a:p>
            <a:r>
              <a:rPr lang="en-US" altLang="ja-JP" dirty="0"/>
              <a:t>Click icon to add picture</a:t>
            </a:r>
            <a:endParaRPr lang="en-US" dirty="0"/>
          </a:p>
        </p:txBody>
      </p:sp>
      <p:sp>
        <p:nvSpPr>
          <p:cNvPr id="16" name="Picture Placeholder 15"/>
          <p:cNvSpPr>
            <a:spLocks noGrp="1"/>
          </p:cNvSpPr>
          <p:nvPr>
            <p:ph type="pic" sz="quarter" idx="17"/>
          </p:nvPr>
        </p:nvSpPr>
        <p:spPr>
          <a:xfrm>
            <a:off x="2306782" y="2833068"/>
            <a:ext cx="2265218" cy="1726232"/>
          </a:xfrm>
        </p:spPr>
        <p:txBody>
          <a:bodyPr/>
          <a:lstStyle/>
          <a:p>
            <a:r>
              <a:rPr lang="en-US" altLang="ja-JP" dirty="0"/>
              <a:t>Click icon to add picture</a:t>
            </a:r>
            <a:endParaRPr lang="en-US" dirty="0"/>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2206771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ltLang="ja-JP" dirty="0"/>
              <a:t>Click icon to add picture</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347963678"/>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1739034" y="1173689"/>
            <a:ext cx="2763982" cy="2561253"/>
          </a:xfrm>
        </p:spPr>
        <p:txBody>
          <a:bodyPr/>
          <a:lstStyle/>
          <a:p>
            <a:r>
              <a:rPr lang="en-US" altLang="ja-JP" dirty="0"/>
              <a:t>Click icon to add picture</a:t>
            </a:r>
            <a:endParaRPr lang="en-US" dirty="0"/>
          </a:p>
        </p:txBody>
      </p:sp>
      <p:sp>
        <p:nvSpPr>
          <p:cNvPr id="11" name="Picture Placeholder 10"/>
          <p:cNvSpPr>
            <a:spLocks noGrp="1"/>
          </p:cNvSpPr>
          <p:nvPr>
            <p:ph type="pic" sz="quarter" idx="15"/>
          </p:nvPr>
        </p:nvSpPr>
        <p:spPr>
          <a:xfrm>
            <a:off x="4655127" y="1173689"/>
            <a:ext cx="2763982" cy="2561253"/>
          </a:xfrm>
        </p:spPr>
        <p:txBody>
          <a:bodyPr/>
          <a:lstStyle/>
          <a:p>
            <a:r>
              <a:rPr lang="en-US" altLang="ja-JP" dirty="0"/>
              <a:t>Click icon to add picture</a:t>
            </a:r>
            <a:endParaRPr lang="en-US" dirty="0"/>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ltLang="ja-JP"/>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ltLang="ja-JP"/>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86798416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altLang="ja-JP" dirty="0"/>
              <a:t>Click icon to add picture</a:t>
            </a:r>
            <a:endParaRPr lang="en-US" dirty="0"/>
          </a:p>
        </p:txBody>
      </p:sp>
      <p:sp>
        <p:nvSpPr>
          <p:cNvPr id="12" name="Picture Placeholder 7"/>
          <p:cNvSpPr>
            <a:spLocks noGrp="1"/>
          </p:cNvSpPr>
          <p:nvPr>
            <p:ph type="pic" sz="quarter" idx="15"/>
          </p:nvPr>
        </p:nvSpPr>
        <p:spPr>
          <a:xfrm>
            <a:off x="6109855" y="1007707"/>
            <a:ext cx="3034145" cy="3551594"/>
          </a:xfrm>
        </p:spPr>
        <p:txBody>
          <a:bodyPr/>
          <a:lstStyle/>
          <a:p>
            <a:r>
              <a:rPr lang="en-US" altLang="ja-JP" dirty="0"/>
              <a:t>Click icon to add picture</a:t>
            </a:r>
            <a:endParaRPr lang="en-US" dirty="0"/>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ltLang="ja-JP"/>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7641303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6048299" y="1007415"/>
            <a:ext cx="3096491" cy="2863127"/>
          </a:xfrm>
        </p:spPr>
        <p:txBody>
          <a:bodyPr/>
          <a:lstStyle/>
          <a:p>
            <a:r>
              <a:rPr lang="en-US" altLang="ja-JP" dirty="0"/>
              <a:t>Click icon to add picture</a:t>
            </a:r>
            <a:endParaRPr lang="en-US" dirty="0"/>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ltLang="ja-JP"/>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09009715"/>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310" y="1007415"/>
            <a:ext cx="3096491" cy="2866085"/>
          </a:xfrm>
        </p:spPr>
        <p:txBody>
          <a:bodyPr/>
          <a:lstStyle/>
          <a:p>
            <a:r>
              <a:rPr lang="en-US" altLang="ja-JP" dirty="0"/>
              <a:t>Click icon to add picture</a:t>
            </a:r>
            <a:endParaRPr lang="en-US" dirty="0"/>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ltLang="ja-JP"/>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76989222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6749094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848564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9" name="Picture Placeholder 4"/>
          <p:cNvPicPr>
            <a:picLocks noChangeAspect="1"/>
          </p:cNvPicPr>
          <p:nvPr/>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a:t>Click icon to add pictur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3254" y="4592059"/>
            <a:ext cx="2081852" cy="380285"/>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0" hasCustomPrompt="1"/>
          </p:nvPr>
        </p:nvSpPr>
        <p:spPr>
          <a:xfrm>
            <a:off x="571500"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a:t>CLICK TO EDIT MASTER TEXT STYLES</a:t>
            </a:r>
          </a:p>
        </p:txBody>
      </p:sp>
      <p:sp>
        <p:nvSpPr>
          <p:cNvPr id="2" name="Title 1"/>
          <p:cNvSpPr>
            <a:spLocks noGrp="1"/>
          </p:cNvSpPr>
          <p:nvPr>
            <p:ph type="title" hasCustomPrompt="1"/>
          </p:nvPr>
        </p:nvSpPr>
        <p:spPr>
          <a:xfrm>
            <a:off x="571503"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40873761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060149244"/>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87"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180522590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7" name="Rectangle 6"/>
          <p:cNvSpPr/>
          <p:nvPr/>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248"/>
            <a:ext cx="8416782" cy="492443"/>
          </a:xfrm>
        </p:spPr>
        <p:txBody>
          <a:bodyPr wrap="square" anchor="b">
            <a:spAutoFit/>
          </a:bodyPr>
          <a:lstStyle>
            <a:lvl1pPr>
              <a:defRPr spc="0" baseline="0"/>
            </a:lvl1pPr>
          </a:lstStyle>
          <a:p>
            <a:r>
              <a:rPr lang="en-US"/>
              <a:t>CLICK TO EDIT MASTER TITLE STYLE</a:t>
            </a:r>
          </a:p>
        </p:txBody>
      </p:sp>
    </p:spTree>
    <p:extLst>
      <p:ext uri="{BB962C8B-B14F-4D97-AF65-F5344CB8AC3E}">
        <p14:creationId xmlns:p14="http://schemas.microsoft.com/office/powerpoint/2010/main" val="279134275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7" name="Rectangle 6"/>
          <p:cNvSpPr/>
          <p:nvPr/>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9" y="440166"/>
            <a:ext cx="8416925" cy="492443"/>
          </a:xfrm>
        </p:spPr>
        <p:txBody>
          <a:bodyPr>
            <a:spAutoFit/>
          </a:bodyPr>
          <a:lstStyle>
            <a:lvl1pPr>
              <a:defRPr spc="0" baseline="0"/>
            </a:lvl1pPr>
          </a:lstStyle>
          <a:p>
            <a:r>
              <a:rPr lang="en-US"/>
              <a:t>CLICK TO EDIT MASTER TITLE STYLE</a:t>
            </a:r>
          </a:p>
        </p:txBody>
      </p:sp>
      <p:sp>
        <p:nvSpPr>
          <p:cNvPr id="5" name="Text Placeholder 4"/>
          <p:cNvSpPr>
            <a:spLocks noGrp="1"/>
          </p:cNvSpPr>
          <p:nvPr>
            <p:ph type="body" sz="quarter" idx="11"/>
          </p:nvPr>
        </p:nvSpPr>
        <p:spPr>
          <a:xfrm>
            <a:off x="363538" y="1146176"/>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145959573"/>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5"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5"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2" y="1007705"/>
            <a:ext cx="3075709" cy="3551595"/>
          </a:xfrm>
        </p:spPr>
        <p:txBody>
          <a:bodyPr/>
          <a:lstStyle/>
          <a:p>
            <a:r>
              <a:rPr lang="en-US"/>
              <a:t>Click icon to add picture</a:t>
            </a:r>
          </a:p>
        </p:txBody>
      </p:sp>
      <p:sp>
        <p:nvSpPr>
          <p:cNvPr id="2" name="Title 1"/>
          <p:cNvSpPr>
            <a:spLocks noGrp="1"/>
          </p:cNvSpPr>
          <p:nvPr>
            <p:ph type="title" hasCustomPrompt="1"/>
          </p:nvPr>
        </p:nvSpPr>
        <p:spPr>
          <a:xfrm>
            <a:off x="363539" y="440248"/>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287741247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3"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9" y="440248"/>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1506685472"/>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ontent and Takeaway (right)">
    <p:spTree>
      <p:nvGrpSpPr>
        <p:cNvPr id="1" name=""/>
        <p:cNvGrpSpPr/>
        <p:nvPr/>
      </p:nvGrpSpPr>
      <p:grpSpPr>
        <a:xfrm>
          <a:off x="0" y="0"/>
          <a:ext cx="0" cy="0"/>
          <a:chOff x="0" y="0"/>
          <a:chExt cx="0" cy="0"/>
        </a:xfrm>
      </p:grpSpPr>
      <p:sp>
        <p:nvSpPr>
          <p:cNvPr id="7" name="Rectangle 6"/>
          <p:cNvSpPr/>
          <p:nvPr/>
        </p:nvSpPr>
        <p:spPr>
          <a:xfrm>
            <a:off x="2"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268206247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akeaway (bottom)">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1"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139912708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Subtitle and Takeaway">
    <p:spTree>
      <p:nvGrpSpPr>
        <p:cNvPr id="1" name=""/>
        <p:cNvGrpSpPr/>
        <p:nvPr/>
      </p:nvGrpSpPr>
      <p:grpSpPr>
        <a:xfrm>
          <a:off x="0" y="0"/>
          <a:ext cx="0" cy="0"/>
          <a:chOff x="0" y="0"/>
          <a:chExt cx="0" cy="0"/>
        </a:xfrm>
      </p:grpSpPr>
      <p:sp>
        <p:nvSpPr>
          <p:cNvPr id="7" name="Rectangle 6"/>
          <p:cNvSpPr/>
          <p:nvPr/>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
        <p:nvSpPr>
          <p:cNvPr id="4" name="Text Placeholder 3"/>
          <p:cNvSpPr>
            <a:spLocks noGrp="1"/>
          </p:cNvSpPr>
          <p:nvPr>
            <p:ph type="body" sz="quarter" idx="15"/>
          </p:nvPr>
        </p:nvSpPr>
        <p:spPr>
          <a:xfrm>
            <a:off x="363538" y="1146176"/>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92029443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Content and Takeaway (left)">
    <p:spTree>
      <p:nvGrpSpPr>
        <p:cNvPr id="1" name=""/>
        <p:cNvGrpSpPr/>
        <p:nvPr/>
      </p:nvGrpSpPr>
      <p:grpSpPr>
        <a:xfrm>
          <a:off x="0" y="0"/>
          <a:ext cx="0" cy="0"/>
          <a:chOff x="0" y="0"/>
          <a:chExt cx="0" cy="0"/>
        </a:xfrm>
      </p:grpSpPr>
      <p:sp>
        <p:nvSpPr>
          <p:cNvPr id="7" name="Rectangle 6"/>
          <p:cNvSpPr/>
          <p:nvPr/>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45">
              <a:defRPr/>
            </a:pPr>
            <a:endParaRPr lang="en-US" sz="521">
              <a:solidFill>
                <a:srgbClr val="FFFFFF"/>
              </a:solidFill>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15813935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7"/>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0" y="2833069"/>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0" y="1007707"/>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260745429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1731432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252922799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wo Photo w/Label">
    <p:spTree>
      <p:nvGrpSpPr>
        <p:cNvPr id="1" name=""/>
        <p:cNvGrpSpPr/>
        <p:nvPr/>
      </p:nvGrpSpPr>
      <p:grpSpPr>
        <a:xfrm>
          <a:off x="0" y="0"/>
          <a:ext cx="0" cy="0"/>
          <a:chOff x="0" y="0"/>
          <a:chExt cx="0" cy="0"/>
        </a:xfrm>
      </p:grpSpPr>
      <p:sp>
        <p:nvSpPr>
          <p:cNvPr id="7" name="Rectangle 6"/>
          <p:cNvSpPr/>
          <p:nvPr/>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6"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8"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79363533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7" y="1007707"/>
            <a:ext cx="3034145" cy="3551594"/>
          </a:xfrm>
        </p:spPr>
        <p:txBody>
          <a:bodyPr/>
          <a:lstStyle/>
          <a:p>
            <a:r>
              <a:rPr lang="en-US"/>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964139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Photo and Content (right)">
    <p:spTree>
      <p:nvGrpSpPr>
        <p:cNvPr id="1" name=""/>
        <p:cNvGrpSpPr/>
        <p:nvPr/>
      </p:nvGrpSpPr>
      <p:grpSpPr>
        <a:xfrm>
          <a:off x="0" y="0"/>
          <a:ext cx="0" cy="0"/>
          <a:chOff x="0" y="0"/>
          <a:chExt cx="0" cy="0"/>
        </a:xfrm>
      </p:grpSpPr>
      <p:sp>
        <p:nvSpPr>
          <p:cNvPr id="7" name="Rectangle 6"/>
          <p:cNvSpPr/>
          <p:nvPr/>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8" name="Picture Placeholder 7"/>
          <p:cNvSpPr>
            <a:spLocks noGrp="1"/>
          </p:cNvSpPr>
          <p:nvPr>
            <p:ph type="pic" sz="quarter" idx="14"/>
          </p:nvPr>
        </p:nvSpPr>
        <p:spPr>
          <a:xfrm>
            <a:off x="6048301" y="1007416"/>
            <a:ext cx="3096491" cy="2863127"/>
          </a:xfrm>
        </p:spPr>
        <p:txBody>
          <a:bodyPr/>
          <a:lstStyle/>
          <a:p>
            <a:r>
              <a:rPr lang="en-US"/>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6463151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Photo and Content (left)">
    <p:spTree>
      <p:nvGrpSpPr>
        <p:cNvPr id="1" name=""/>
        <p:cNvGrpSpPr/>
        <p:nvPr/>
      </p:nvGrpSpPr>
      <p:grpSpPr>
        <a:xfrm>
          <a:off x="0" y="0"/>
          <a:ext cx="0" cy="0"/>
          <a:chOff x="0" y="0"/>
          <a:chExt cx="0" cy="0"/>
        </a:xfrm>
      </p:grpSpPr>
      <p:sp>
        <p:nvSpPr>
          <p:cNvPr id="7" name="Rectangle 6"/>
          <p:cNvSpPr/>
          <p:nvPr/>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a:solidFill>
                <a:srgbClr val="FFFFFF"/>
              </a:solidFill>
            </a:endParaRPr>
          </a:p>
        </p:txBody>
      </p:sp>
      <p:sp>
        <p:nvSpPr>
          <p:cNvPr id="8" name="Picture Placeholder 7"/>
          <p:cNvSpPr>
            <a:spLocks noGrp="1"/>
          </p:cNvSpPr>
          <p:nvPr>
            <p:ph type="pic" sz="quarter" idx="14"/>
          </p:nvPr>
        </p:nvSpPr>
        <p:spPr>
          <a:xfrm>
            <a:off x="-310" y="1007415"/>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98991221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Only -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35"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74610596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59"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95743567"/>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Intro and Bo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342900" y="1200150"/>
            <a:ext cx="8458200" cy="3314700"/>
          </a:xfrm>
          <a:prstGeom prst="rect">
            <a:avLst/>
          </a:prstGeom>
        </p:spPr>
        <p:txBody>
          <a:bodyPr>
            <a:normAutofit/>
          </a:bodyPr>
          <a:lstStyle>
            <a:lvl1pPr marL="127394" indent="-127394">
              <a:defRPr sz="1050">
                <a:solidFill>
                  <a:schemeClr val="tx1"/>
                </a:solidFill>
              </a:defRPr>
            </a:lvl1pPr>
            <a:lvl2pPr marL="430995" indent="-176209">
              <a:defRPr sz="900">
                <a:solidFill>
                  <a:schemeClr val="tx1"/>
                </a:solidFill>
              </a:defRPr>
            </a:lvl2pPr>
            <a:lvl3pPr marL="685783" indent="-167875">
              <a:buFont typeface="Wingdings" pitchFamily="2" charset="2"/>
              <a:buChar char="§"/>
              <a:defRPr sz="825">
                <a:solidFill>
                  <a:schemeClr val="tx1"/>
                </a:solidFill>
              </a:defRPr>
            </a:lvl3pPr>
            <a:lvl4pPr>
              <a:defRPr sz="788"/>
            </a:lvl4pPr>
            <a:lvl5pPr>
              <a:defRPr sz="788"/>
            </a:lvl5pPr>
          </a:lstStyle>
          <a:p>
            <a:pPr lvl="0"/>
            <a:r>
              <a:rPr lang="en-US"/>
              <a:t>Click to edit Master text styles</a:t>
            </a:r>
          </a:p>
          <a:p>
            <a:pPr lvl="1"/>
            <a:r>
              <a:rPr lang="en-US"/>
              <a:t>Second level</a:t>
            </a:r>
          </a:p>
          <a:p>
            <a:pPr lvl="2"/>
            <a:r>
              <a:rPr lang="en-US"/>
              <a:t>Third level</a:t>
            </a:r>
          </a:p>
        </p:txBody>
      </p:sp>
      <p:sp>
        <p:nvSpPr>
          <p:cNvPr id="10" name="Text Placeholder 9"/>
          <p:cNvSpPr>
            <a:spLocks noGrp="1"/>
          </p:cNvSpPr>
          <p:nvPr>
            <p:ph type="body" sz="quarter" idx="14" hasCustomPrompt="1"/>
          </p:nvPr>
        </p:nvSpPr>
        <p:spPr>
          <a:xfrm>
            <a:off x="342900" y="685800"/>
            <a:ext cx="8458200" cy="400050"/>
          </a:xfrm>
          <a:prstGeom prst="rect">
            <a:avLst/>
          </a:prstGeom>
        </p:spPr>
        <p:txBody>
          <a:bodyPr>
            <a:normAutofit/>
          </a:bodyPr>
          <a:lstStyle>
            <a:lvl1pPr marL="0" indent="0">
              <a:buNone/>
              <a:defRPr sz="1200">
                <a:solidFill>
                  <a:schemeClr val="tx1"/>
                </a:solidFill>
              </a:defRPr>
            </a:lvl1pPr>
          </a:lstStyle>
          <a:p>
            <a:pPr lvl="0"/>
            <a:r>
              <a:rPr lang="en-US"/>
              <a:t>Click to add intro</a:t>
            </a:r>
          </a:p>
        </p:txBody>
      </p:sp>
    </p:spTree>
    <p:extLst>
      <p:ext uri="{BB962C8B-B14F-4D97-AF65-F5344CB8AC3E}">
        <p14:creationId xmlns:p14="http://schemas.microsoft.com/office/powerpoint/2010/main" val="240574980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0" y="0"/>
            <a:ext cx="9144000" cy="3966668"/>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rgbClr val="FFFFFF"/>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3255" y="4592061"/>
            <a:ext cx="2081852" cy="380285"/>
          </a:xfrm>
          <a:prstGeom prst="rect">
            <a:avLst/>
          </a:prstGeom>
        </p:spPr>
      </p:pic>
      <p:sp>
        <p:nvSpPr>
          <p:cNvPr id="13" name="Text Placeholder 12"/>
          <p:cNvSpPr>
            <a:spLocks noGrp="1"/>
          </p:cNvSpPr>
          <p:nvPr>
            <p:ph type="body" sz="quarter" idx="13" hasCustomPrompt="1"/>
          </p:nvPr>
        </p:nvSpPr>
        <p:spPr>
          <a:xfrm>
            <a:off x="571501" y="4460431"/>
            <a:ext cx="7449344" cy="294857"/>
          </a:xfrm>
        </p:spPr>
        <p:txBody>
          <a:bodyPr tIns="0"/>
          <a:lstStyle>
            <a:lvl1pPr marL="0" indent="0" algn="l">
              <a:spcBef>
                <a:spcPts val="0"/>
              </a:spcBef>
              <a:spcAft>
                <a:spcPts val="0"/>
              </a:spcAft>
              <a:buNone/>
              <a:defRPr sz="15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30"/>
            <a:ext cx="7449344" cy="346274"/>
          </a:xfrm>
        </p:spPr>
        <p:txBody>
          <a:bodyPr rIns="0" anchor="ctr"/>
          <a:lstStyle>
            <a:lvl1pPr marL="0" indent="0" algn="l">
              <a:buNone/>
              <a:defRPr sz="18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5" y="1743075"/>
            <a:ext cx="7441435" cy="514350"/>
          </a:xfrm>
          <a:prstGeom prst="rect">
            <a:avLst/>
          </a:prstGeom>
        </p:spPr>
        <p:txBody>
          <a:bodyPr vert="horz" lIns="0" tIns="0" rIns="0" bIns="0" anchor="ctr">
            <a:noAutofit/>
          </a:bodyPr>
          <a:lstStyle>
            <a:lvl1pPr algn="l">
              <a:defRPr sz="27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9654833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Rectangle 6"/>
          <p:cNvSpPr/>
          <p:nvPr/>
        </p:nvSpPr>
        <p:spPr>
          <a:xfrm>
            <a:off x="0" y="1007707"/>
            <a:ext cx="9144000" cy="35466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83849649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6048299" y="1007415"/>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7149928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7" name="Rectangle 6"/>
          <p:cNvSpPr/>
          <p:nvPr/>
        </p:nvSpPr>
        <p:spPr>
          <a:xfrm>
            <a:off x="0" y="1007709"/>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540278"/>
            <a:ext cx="8416782" cy="392415"/>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81559209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7" name="Rectangle 6"/>
          <p:cNvSpPr/>
          <p:nvPr/>
        </p:nvSpPr>
        <p:spPr>
          <a:xfrm>
            <a:off x="0" y="1007709"/>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4" name="Content Placeholder 3"/>
          <p:cNvSpPr>
            <a:spLocks noGrp="1"/>
          </p:cNvSpPr>
          <p:nvPr>
            <p:ph sz="quarter" idx="10"/>
          </p:nvPr>
        </p:nvSpPr>
        <p:spPr>
          <a:xfrm>
            <a:off x="363542" y="1554482"/>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41" y="540196"/>
            <a:ext cx="8416925" cy="392415"/>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1800">
                <a:solidFill>
                  <a:schemeClr val="accent1"/>
                </a:solidFill>
                <a:latin typeface="+mj-lt"/>
              </a:defRPr>
            </a:lvl1pPr>
            <a:lvl2pPr marL="173831" indent="0">
              <a:buNone/>
              <a:defRPr sz="1650">
                <a:solidFill>
                  <a:schemeClr val="accent1"/>
                </a:solidFill>
                <a:latin typeface="+mj-lt"/>
              </a:defRPr>
            </a:lvl2pPr>
            <a:lvl3pPr marL="342900" indent="0">
              <a:buNone/>
              <a:defRPr sz="1650">
                <a:solidFill>
                  <a:schemeClr val="accent1"/>
                </a:solidFill>
                <a:latin typeface="+mj-lt"/>
              </a:defRPr>
            </a:lvl3pPr>
            <a:lvl4pPr marL="516731" indent="0">
              <a:buNone/>
              <a:defRPr sz="1650">
                <a:solidFill>
                  <a:schemeClr val="accent1"/>
                </a:solidFill>
                <a:latin typeface="+mj-lt"/>
              </a:defRPr>
            </a:lvl4pPr>
            <a:lvl5pPr marL="685800" indent="0">
              <a:buNone/>
              <a:defRPr sz="165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29217663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7"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6"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4" y="1007705"/>
            <a:ext cx="3075709" cy="3551595"/>
          </a:xfrm>
        </p:spPr>
        <p:txBody>
          <a:bodyPr/>
          <a:lstStyle/>
          <a:p>
            <a:r>
              <a:rPr lang="en-US"/>
              <a:t>Click icon to add picture</a:t>
            </a:r>
            <a:endParaRPr lang="en-US" dirty="0"/>
          </a:p>
        </p:txBody>
      </p:sp>
      <p:sp>
        <p:nvSpPr>
          <p:cNvPr id="2" name="Title 1"/>
          <p:cNvSpPr>
            <a:spLocks noGrp="1"/>
          </p:cNvSpPr>
          <p:nvPr>
            <p:ph type="title" hasCustomPrompt="1"/>
          </p:nvPr>
        </p:nvSpPr>
        <p:spPr>
          <a:xfrm>
            <a:off x="363542" y="540278"/>
            <a:ext cx="8416925" cy="392415"/>
          </a:xfrm>
          <a:prstGeom prst="rect">
            <a:avLst/>
          </a:prstGeom>
        </p:spPr>
        <p:txBody>
          <a:bodyPr vert="horz" wrap="square" lIns="91440" tIns="45720" rIns="91440" bIns="45720" anchor="b" anchorCtr="0">
            <a:spAutoFit/>
          </a:bodyPr>
          <a:lstStyle>
            <a:lvl1pPr algn="l">
              <a:lnSpc>
                <a:spcPct val="100000"/>
              </a:lnSpc>
              <a:defRPr lang="en-US" sz="195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2467744670"/>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4" y="1007709"/>
            <a:ext cx="6026727" cy="3551594"/>
          </a:xfrm>
        </p:spPr>
        <p:txBody>
          <a:bodyPr/>
          <a:lstStyle/>
          <a:p>
            <a:r>
              <a:rPr lang="en-US"/>
              <a:t>Click icon to add picture</a:t>
            </a:r>
          </a:p>
        </p:txBody>
      </p:sp>
      <p:sp>
        <p:nvSpPr>
          <p:cNvPr id="4" name="Content Placeholder 3"/>
          <p:cNvSpPr>
            <a:spLocks noGrp="1"/>
          </p:cNvSpPr>
          <p:nvPr>
            <p:ph sz="quarter" idx="13"/>
          </p:nvPr>
        </p:nvSpPr>
        <p:spPr>
          <a:xfrm>
            <a:off x="6069995" y="1008066"/>
            <a:ext cx="3074009" cy="3551237"/>
          </a:xfrm>
          <a:solidFill>
            <a:schemeClr val="accent1"/>
          </a:solidFill>
        </p:spPr>
        <p:txBody>
          <a:bodyPr lIns="182880" rIns="274320" anchor="ctr"/>
          <a:lstStyle>
            <a:lvl1pPr marL="0" indent="0">
              <a:buNone/>
              <a:defRPr sz="1650">
                <a:solidFill>
                  <a:schemeClr val="bg1"/>
                </a:solidFill>
              </a:defRPr>
            </a:lvl1pPr>
            <a:lvl2pPr>
              <a:buClr>
                <a:schemeClr val="bg1"/>
              </a:buClr>
              <a:defRPr sz="1500">
                <a:solidFill>
                  <a:schemeClr val="bg1"/>
                </a:solidFill>
              </a:defRPr>
            </a:lvl2pPr>
            <a:lvl3pPr>
              <a:buClr>
                <a:schemeClr val="bg1"/>
              </a:buClr>
              <a:defRPr sz="1350">
                <a:solidFill>
                  <a:schemeClr val="bg1"/>
                </a:solidFill>
              </a:defRPr>
            </a:lvl3pPr>
            <a:lvl4pPr>
              <a:buClr>
                <a:schemeClr val="bg1"/>
              </a:buClr>
              <a:defRPr sz="1200">
                <a:solidFill>
                  <a:schemeClr val="bg1"/>
                </a:solidFill>
              </a:defRPr>
            </a:lvl4pPr>
            <a:lvl5pPr>
              <a:buClr>
                <a:schemeClr val="bg1"/>
              </a:buCl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42" y="540278"/>
            <a:ext cx="8416925" cy="392415"/>
          </a:xfrm>
          <a:prstGeom prst="rect">
            <a:avLst/>
          </a:prstGeom>
        </p:spPr>
        <p:txBody>
          <a:bodyPr vert="horz" wrap="square" lIns="91440" tIns="45720" rIns="91440" bIns="45720" anchor="b" anchorCtr="0">
            <a:spAutoFit/>
          </a:bodyPr>
          <a:lstStyle>
            <a:lvl1pPr algn="l">
              <a:defRPr sz="195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747016033"/>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Content and Takeaway (right)">
    <p:spTree>
      <p:nvGrpSpPr>
        <p:cNvPr id="1" name=""/>
        <p:cNvGrpSpPr/>
        <p:nvPr/>
      </p:nvGrpSpPr>
      <p:grpSpPr>
        <a:xfrm>
          <a:off x="0" y="0"/>
          <a:ext cx="0" cy="0"/>
          <a:chOff x="0" y="0"/>
          <a:chExt cx="0" cy="0"/>
        </a:xfrm>
      </p:grpSpPr>
      <p:sp>
        <p:nvSpPr>
          <p:cNvPr id="7" name="Rectangle 6"/>
          <p:cNvSpPr/>
          <p:nvPr/>
        </p:nvSpPr>
        <p:spPr>
          <a:xfrm>
            <a:off x="4"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10" name="Text Placeholder 9"/>
          <p:cNvSpPr>
            <a:spLocks noGrp="1"/>
          </p:cNvSpPr>
          <p:nvPr>
            <p:ph type="body" sz="quarter" idx="14"/>
          </p:nvPr>
        </p:nvSpPr>
        <p:spPr>
          <a:xfrm>
            <a:off x="6053327" y="1005842"/>
            <a:ext cx="3099816" cy="3553460"/>
          </a:xfrm>
          <a:solidFill>
            <a:schemeClr val="accent1"/>
          </a:solidFill>
        </p:spPr>
        <p:txBody>
          <a:bodyPr lIns="182880" tIns="91440" rIns="274320" bIns="91440" anchor="ctr" anchorCtr="0"/>
          <a:lstStyle>
            <a:lvl1pPr marL="0" indent="0" algn="l">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43856559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akeaway (bottom)">
    <p:spTree>
      <p:nvGrpSpPr>
        <p:cNvPr id="1" name=""/>
        <p:cNvGrpSpPr/>
        <p:nvPr/>
      </p:nvGrpSpPr>
      <p:grpSpPr>
        <a:xfrm>
          <a:off x="0" y="0"/>
          <a:ext cx="0" cy="0"/>
          <a:chOff x="0" y="0"/>
          <a:chExt cx="0" cy="0"/>
        </a:xfrm>
      </p:grpSpPr>
      <p:sp>
        <p:nvSpPr>
          <p:cNvPr id="7" name="Rectangle 6"/>
          <p:cNvSpPr/>
          <p:nvPr/>
        </p:nvSpPr>
        <p:spPr>
          <a:xfrm>
            <a:off x="0" y="1007706"/>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42" y="1280160"/>
            <a:ext cx="8416925" cy="2424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698237500"/>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ubtitle and Takeaway">
    <p:spTree>
      <p:nvGrpSpPr>
        <p:cNvPr id="1" name=""/>
        <p:cNvGrpSpPr/>
        <p:nvPr/>
      </p:nvGrpSpPr>
      <p:grpSpPr>
        <a:xfrm>
          <a:off x="0" y="0"/>
          <a:ext cx="0" cy="0"/>
          <a:chOff x="0" y="0"/>
          <a:chExt cx="0" cy="0"/>
        </a:xfrm>
      </p:grpSpPr>
      <p:sp>
        <p:nvSpPr>
          <p:cNvPr id="7" name="Rectangle 6"/>
          <p:cNvSpPr/>
          <p:nvPr/>
        </p:nvSpPr>
        <p:spPr>
          <a:xfrm>
            <a:off x="0" y="1007706"/>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15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42" y="1554481"/>
            <a:ext cx="8416925" cy="2203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1800">
                <a:solidFill>
                  <a:schemeClr val="accent1"/>
                </a:solidFill>
                <a:latin typeface="+mj-lt"/>
              </a:defRPr>
            </a:lvl1pPr>
            <a:lvl2pPr marL="173831" indent="0">
              <a:buNone/>
              <a:defRPr sz="1800">
                <a:solidFill>
                  <a:schemeClr val="accent1"/>
                </a:solidFill>
                <a:latin typeface="+mj-lt"/>
              </a:defRPr>
            </a:lvl2pPr>
            <a:lvl3pPr marL="342900" indent="0">
              <a:buNone/>
              <a:defRPr sz="1800">
                <a:solidFill>
                  <a:schemeClr val="accent1"/>
                </a:solidFill>
                <a:latin typeface="+mj-lt"/>
              </a:defRPr>
            </a:lvl3pPr>
            <a:lvl4pPr marL="516731" indent="0">
              <a:buNone/>
              <a:defRPr sz="1800">
                <a:solidFill>
                  <a:schemeClr val="accent1"/>
                </a:solidFill>
                <a:latin typeface="+mj-lt"/>
              </a:defRPr>
            </a:lvl4pPr>
            <a:lvl5pPr marL="685800" indent="0">
              <a:buNone/>
              <a:defRPr sz="18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71622713"/>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Content and Takeaway (left)">
    <p:spTree>
      <p:nvGrpSpPr>
        <p:cNvPr id="1" name=""/>
        <p:cNvGrpSpPr/>
        <p:nvPr/>
      </p:nvGrpSpPr>
      <p:grpSpPr>
        <a:xfrm>
          <a:off x="0" y="0"/>
          <a:ext cx="0" cy="0"/>
          <a:chOff x="0" y="0"/>
          <a:chExt cx="0" cy="0"/>
        </a:xfrm>
      </p:grpSpPr>
      <p:sp>
        <p:nvSpPr>
          <p:cNvPr id="7" name="Rectangle 6"/>
          <p:cNvSpPr/>
          <p:nvPr/>
        </p:nvSpPr>
        <p:spPr>
          <a:xfrm>
            <a:off x="2589069" y="1007709"/>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436534">
              <a:defRPr/>
            </a:pPr>
            <a:endParaRPr lang="en-US" sz="391">
              <a:solidFill>
                <a:srgbClr val="FFFFFF"/>
              </a:solidFill>
            </a:endParaRPr>
          </a:p>
        </p:txBody>
      </p:sp>
      <p:sp>
        <p:nvSpPr>
          <p:cNvPr id="11" name="Text Placeholder 10"/>
          <p:cNvSpPr>
            <a:spLocks noGrp="1"/>
          </p:cNvSpPr>
          <p:nvPr>
            <p:ph type="body" sz="quarter" idx="16"/>
          </p:nvPr>
        </p:nvSpPr>
        <p:spPr>
          <a:xfrm>
            <a:off x="1" y="1007709"/>
            <a:ext cx="2556164" cy="3551594"/>
          </a:xfrm>
          <a:solidFill>
            <a:schemeClr val="accent1"/>
          </a:solidFill>
        </p:spPr>
        <p:txBody>
          <a:bodyPr lIns="274320" tIns="137160" rIns="91440" bIns="182880" anchor="ctr"/>
          <a:lstStyle>
            <a:lvl1pPr marL="0" indent="0" algn="l">
              <a:buClr>
                <a:schemeClr val="bg1"/>
              </a:buClr>
              <a:buNone/>
              <a:defRPr sz="1500">
                <a:solidFill>
                  <a:schemeClr val="bg1"/>
                </a:solidFill>
              </a:defRPr>
            </a:lvl1pPr>
            <a:lvl2pPr marL="127397" indent="0" algn="ctr">
              <a:buClr>
                <a:schemeClr val="bg1"/>
              </a:buClr>
              <a:buNone/>
              <a:defRPr>
                <a:solidFill>
                  <a:schemeClr val="bg1"/>
                </a:solidFill>
              </a:defRPr>
            </a:lvl2pPr>
            <a:lvl3pPr marL="258365"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3" y="1146176"/>
            <a:ext cx="6001729" cy="352425"/>
          </a:xfrm>
        </p:spPr>
        <p:txBody>
          <a:bodyPr/>
          <a:lstStyle>
            <a:lvl1pPr marL="0" indent="0">
              <a:buNone/>
              <a:defRPr sz="1800">
                <a:solidFill>
                  <a:schemeClr val="accent1"/>
                </a:solidFill>
                <a:latin typeface="+mj-lt"/>
              </a:defRPr>
            </a:lvl1pPr>
            <a:lvl2pPr marL="173831" indent="0">
              <a:buNone/>
              <a:defRPr sz="1800">
                <a:solidFill>
                  <a:schemeClr val="accent1"/>
                </a:solidFill>
                <a:latin typeface="+mj-lt"/>
              </a:defRPr>
            </a:lvl2pPr>
            <a:lvl3pPr marL="342900" indent="0">
              <a:buNone/>
              <a:defRPr sz="1800">
                <a:solidFill>
                  <a:schemeClr val="accent1"/>
                </a:solidFill>
                <a:latin typeface="+mj-lt"/>
              </a:defRPr>
            </a:lvl3pPr>
            <a:lvl4pPr marL="516731" indent="0">
              <a:buNone/>
              <a:defRPr sz="1800">
                <a:solidFill>
                  <a:schemeClr val="accent1"/>
                </a:solidFill>
                <a:latin typeface="+mj-lt"/>
              </a:defRPr>
            </a:lvl4pPr>
            <a:lvl5pPr marL="685800" indent="0">
              <a:buNone/>
              <a:defRPr sz="18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28482879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8"/>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70"/>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1" y="1007708"/>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70"/>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3000332342"/>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9"/>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1199156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310" y="1007415"/>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75500543"/>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wo Photo w/Label">
    <p:spTree>
      <p:nvGrpSpPr>
        <p:cNvPr id="1" name=""/>
        <p:cNvGrpSpPr/>
        <p:nvPr/>
      </p:nvGrpSpPr>
      <p:grpSpPr>
        <a:xfrm>
          <a:off x="0" y="0"/>
          <a:ext cx="0" cy="0"/>
          <a:chOff x="0" y="0"/>
          <a:chExt cx="0" cy="0"/>
        </a:xfrm>
      </p:grpSpPr>
      <p:sp>
        <p:nvSpPr>
          <p:cNvPr id="7" name="Rectangle 6"/>
          <p:cNvSpPr/>
          <p:nvPr/>
        </p:nvSpPr>
        <p:spPr>
          <a:xfrm>
            <a:off x="0" y="1007709"/>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8" name="Picture Placeholder 7"/>
          <p:cNvSpPr>
            <a:spLocks noGrp="1"/>
          </p:cNvSpPr>
          <p:nvPr>
            <p:ph type="pic" sz="quarter" idx="14"/>
          </p:nvPr>
        </p:nvSpPr>
        <p:spPr>
          <a:xfrm>
            <a:off x="1739034" y="1173690"/>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90"/>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8" y="3734944"/>
            <a:ext cx="2763693" cy="671804"/>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20" y="3734944"/>
            <a:ext cx="2763693" cy="671804"/>
          </a:xfrm>
          <a:solidFill>
            <a:schemeClr val="accent1"/>
          </a:solidFill>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892029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4" y="1007709"/>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9" y="1007709"/>
            <a:ext cx="3034145" cy="3551594"/>
          </a:xfrm>
        </p:spPr>
        <p:txBody>
          <a:bodyPr/>
          <a:lstStyle/>
          <a:p>
            <a:r>
              <a:rPr lang="en-US"/>
              <a:t>Click icon to add picture</a:t>
            </a:r>
            <a:endParaRPr lang="en-US" dirty="0"/>
          </a:p>
        </p:txBody>
      </p:sp>
      <p:sp>
        <p:nvSpPr>
          <p:cNvPr id="9" name="Text Placeholder 8"/>
          <p:cNvSpPr>
            <a:spLocks noGrp="1"/>
          </p:cNvSpPr>
          <p:nvPr>
            <p:ph type="body" sz="quarter" idx="16"/>
          </p:nvPr>
        </p:nvSpPr>
        <p:spPr>
          <a:xfrm>
            <a:off x="3063240" y="1005842"/>
            <a:ext cx="3017520" cy="3553460"/>
          </a:xfrm>
          <a:solidFill>
            <a:schemeClr val="accent1"/>
          </a:solidFill>
        </p:spPr>
        <p:txBody>
          <a:bodyPr lIns="182880" tIns="182880" rIns="182880" bIns="182880" anchor="ctr" anchorCtr="0"/>
          <a:lstStyle>
            <a:lvl1pPr marL="0" indent="0" algn="l">
              <a:spcBef>
                <a:spcPts val="409"/>
              </a:spcBef>
              <a:buNone/>
              <a:defRPr sz="15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16459923"/>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Photo and Content (right)">
    <p:spTree>
      <p:nvGrpSpPr>
        <p:cNvPr id="1" name=""/>
        <p:cNvGrpSpPr/>
        <p:nvPr/>
      </p:nvGrpSpPr>
      <p:grpSpPr>
        <a:xfrm>
          <a:off x="0" y="0"/>
          <a:ext cx="0" cy="0"/>
          <a:chOff x="0" y="0"/>
          <a:chExt cx="0" cy="0"/>
        </a:xfrm>
      </p:grpSpPr>
      <p:sp>
        <p:nvSpPr>
          <p:cNvPr id="7" name="Rectangle 6"/>
          <p:cNvSpPr/>
          <p:nvPr/>
        </p:nvSpPr>
        <p:spPr>
          <a:xfrm>
            <a:off x="1" y="1007709"/>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8" name="Picture Placeholder 7"/>
          <p:cNvSpPr>
            <a:spLocks noGrp="1"/>
          </p:cNvSpPr>
          <p:nvPr>
            <p:ph type="pic" sz="quarter" idx="14"/>
          </p:nvPr>
        </p:nvSpPr>
        <p:spPr>
          <a:xfrm>
            <a:off x="6048302" y="1007417"/>
            <a:ext cx="3096491" cy="2863128"/>
          </a:xfrm>
        </p:spPr>
        <p:txBody>
          <a:bodyPr/>
          <a:lstStyle/>
          <a:p>
            <a:r>
              <a:rPr lang="en-US"/>
              <a:t>Click icon to add picture</a:t>
            </a:r>
            <a:endParaRPr lang="en-US" dirty="0"/>
          </a:p>
        </p:txBody>
      </p:sp>
      <p:sp>
        <p:nvSpPr>
          <p:cNvPr id="10" name="Text Placeholder 12"/>
          <p:cNvSpPr>
            <a:spLocks noGrp="1"/>
          </p:cNvSpPr>
          <p:nvPr>
            <p:ph type="body" sz="quarter" idx="16"/>
          </p:nvPr>
        </p:nvSpPr>
        <p:spPr>
          <a:xfrm>
            <a:off x="6048299" y="3870544"/>
            <a:ext cx="3096096" cy="688760"/>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42" y="1280163"/>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74181083"/>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Photo and Content (left)">
    <p:spTree>
      <p:nvGrpSpPr>
        <p:cNvPr id="1" name=""/>
        <p:cNvGrpSpPr/>
        <p:nvPr/>
      </p:nvGrpSpPr>
      <p:grpSpPr>
        <a:xfrm>
          <a:off x="0" y="0"/>
          <a:ext cx="0" cy="0"/>
          <a:chOff x="0" y="0"/>
          <a:chExt cx="0" cy="0"/>
        </a:xfrm>
      </p:grpSpPr>
      <p:sp>
        <p:nvSpPr>
          <p:cNvPr id="7" name="Rectangle 6"/>
          <p:cNvSpPr/>
          <p:nvPr/>
        </p:nvSpPr>
        <p:spPr>
          <a:xfrm>
            <a:off x="3140023" y="1007709"/>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534">
              <a:defRPr/>
            </a:pPr>
            <a:endParaRPr lang="en-US" sz="391">
              <a:solidFill>
                <a:srgbClr val="FFFFFF"/>
              </a:solidFill>
            </a:endParaRPr>
          </a:p>
        </p:txBody>
      </p:sp>
      <p:sp>
        <p:nvSpPr>
          <p:cNvPr id="8" name="Picture Placeholder 7"/>
          <p:cNvSpPr>
            <a:spLocks noGrp="1"/>
          </p:cNvSpPr>
          <p:nvPr>
            <p:ph type="pic" sz="quarter" idx="14"/>
          </p:nvPr>
        </p:nvSpPr>
        <p:spPr>
          <a:xfrm>
            <a:off x="-309" y="1007418"/>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15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5" y="1280161"/>
            <a:ext cx="5555011" cy="32229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054573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75395156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43251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512763" y="4798221"/>
            <a:ext cx="2794000" cy="273844"/>
          </a:xfrm>
          <a:prstGeom prst="rect">
            <a:avLst/>
          </a:prstGeom>
        </p:spPr>
        <p:txBody>
          <a:bodyPr/>
          <a:lstStyle>
            <a:lvl1pPr>
              <a:defRPr>
                <a:latin typeface="Calibri" panose="020F0502020204030204" pitchFamily="34" charset="0"/>
              </a:defRPr>
            </a:lvl1pPr>
          </a:lstStyle>
          <a:p>
            <a:r>
              <a:rPr lang="en-US">
                <a:solidFill>
                  <a:srgbClr val="000000"/>
                </a:solidFill>
              </a:rPr>
              <a:t>For Internal Use Only. Amgen Confidential.</a:t>
            </a:r>
          </a:p>
        </p:txBody>
      </p:sp>
      <p:sp>
        <p:nvSpPr>
          <p:cNvPr id="5" name="Slide Number Placeholder 4"/>
          <p:cNvSpPr>
            <a:spLocks noGrp="1"/>
          </p:cNvSpPr>
          <p:nvPr>
            <p:ph type="sldNum" sz="quarter" idx="11"/>
          </p:nvPr>
        </p:nvSpPr>
        <p:spPr>
          <a:xfrm>
            <a:off x="3617913" y="4798221"/>
            <a:ext cx="1905000" cy="273844"/>
          </a:xfrm>
          <a:prstGeom prst="rect">
            <a:avLst/>
          </a:prstGeom>
        </p:spPr>
        <p:txBody>
          <a:bodyPr/>
          <a:lstStyle>
            <a:lvl1pPr>
              <a:defRPr>
                <a:latin typeface="Calibri" panose="020F0502020204030204" pitchFamily="34" charset="0"/>
              </a:defRPr>
            </a:lvl1pPr>
          </a:lstStyle>
          <a:p>
            <a:fld id="{811CCFA2-A2A4-4B95-ACF3-47333EBD8F2B}" type="slidenum">
              <a:rPr lang="en-US" smtClean="0">
                <a:solidFill>
                  <a:srgbClr val="000000"/>
                </a:solidFill>
              </a:rPr>
              <a:pPr/>
              <a:t>‹#›</a:t>
            </a:fld>
            <a:endParaRPr lang="en-US">
              <a:solidFill>
                <a:srgbClr val="000000"/>
              </a:solidFill>
            </a:endParaRPr>
          </a:p>
        </p:txBody>
      </p:sp>
      <p:sp>
        <p:nvSpPr>
          <p:cNvPr id="6" name="Date Placeholder 5"/>
          <p:cNvSpPr>
            <a:spLocks noGrp="1"/>
          </p:cNvSpPr>
          <p:nvPr>
            <p:ph type="dt" sz="half" idx="12"/>
          </p:nvPr>
        </p:nvSpPr>
        <p:spPr>
          <a:xfrm>
            <a:off x="5834063" y="4798221"/>
            <a:ext cx="1905000" cy="273844"/>
          </a:xfrm>
          <a:prstGeom prst="rect">
            <a:avLst/>
          </a:prstGeom>
        </p:spPr>
        <p:txBody>
          <a:bodyPr/>
          <a:lstStyle>
            <a:lvl1pPr>
              <a:defRPr>
                <a:latin typeface="Calibri" panose="020F0502020204030204" pitchFamily="34" charset="0"/>
              </a:defRPr>
            </a:lvl1pPr>
          </a:lstStyle>
          <a:p>
            <a:endParaRPr lang="en-US">
              <a:solidFill>
                <a:srgbClr val="000000"/>
              </a:solidFill>
            </a:endParaRPr>
          </a:p>
        </p:txBody>
      </p:sp>
    </p:spTree>
    <p:extLst>
      <p:ext uri="{BB962C8B-B14F-4D97-AF65-F5344CB8AC3E}">
        <p14:creationId xmlns:p14="http://schemas.microsoft.com/office/powerpoint/2010/main" val="846037749"/>
      </p:ext>
    </p:extLst>
  </p:cSld>
  <p:clrMapOvr>
    <a:masterClrMapping/>
  </p:clrMapOvr>
  <p:transition>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a:lnSpc>
                <a:spcPts val="2625"/>
              </a:lnSpc>
              <a:defRPr>
                <a:latin typeface="Calibri" pitchFamily="34" charset="0"/>
              </a:defRPr>
            </a:lvl1pPr>
          </a:lstStyle>
          <a:p>
            <a:r>
              <a:rPr lang="en-US"/>
              <a:t>Click to edit Master title style</a:t>
            </a:r>
            <a:endParaRPr lang="en-US" dirty="0"/>
          </a:p>
        </p:txBody>
      </p:sp>
      <p:sp>
        <p:nvSpPr>
          <p:cNvPr id="4" name="Table Placeholder 3"/>
          <p:cNvSpPr>
            <a:spLocks noGrp="1"/>
          </p:cNvSpPr>
          <p:nvPr>
            <p:ph type="tbl" sz="quarter" idx="10"/>
          </p:nvPr>
        </p:nvSpPr>
        <p:spPr>
          <a:xfrm>
            <a:off x="512064" y="1554480"/>
            <a:ext cx="8119872" cy="2926080"/>
          </a:xfrm>
        </p:spPr>
        <p:txBody>
          <a:bodyPr>
            <a:noAutofit/>
          </a:bodyPr>
          <a:lstStyle>
            <a:lvl1pPr>
              <a:defRPr>
                <a:latin typeface="+mn-lt"/>
              </a:defRPr>
            </a:lvl1pPr>
          </a:lstStyle>
          <a:p>
            <a:r>
              <a:rPr lang="en-US"/>
              <a:t>Click icon to add table</a:t>
            </a:r>
            <a:endParaRPr lang="en-US" dirty="0"/>
          </a:p>
        </p:txBody>
      </p:sp>
      <p:sp>
        <p:nvSpPr>
          <p:cNvPr id="6" name="Text Placeholder 6"/>
          <p:cNvSpPr>
            <a:spLocks noGrp="1"/>
          </p:cNvSpPr>
          <p:nvPr>
            <p:ph type="body" sz="quarter" idx="11"/>
          </p:nvPr>
        </p:nvSpPr>
        <p:spPr>
          <a:xfrm>
            <a:off x="512763" y="960123"/>
            <a:ext cx="8120062" cy="369332"/>
          </a:xfrm>
        </p:spPr>
        <p:txBody>
          <a:bodyPr>
            <a:noAutofit/>
          </a:bodyPr>
          <a:lstStyle>
            <a:lvl1pPr marL="0" indent="0">
              <a:buFontTx/>
              <a:buNone/>
              <a:defRPr sz="2100" b="1">
                <a:solidFill>
                  <a:schemeClr val="accent1"/>
                </a:solidFill>
                <a:latin typeface="Calibri" pitchFamily="34" charset="0"/>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Tree>
    <p:extLst>
      <p:ext uri="{BB962C8B-B14F-4D97-AF65-F5344CB8AC3E}">
        <p14:creationId xmlns:p14="http://schemas.microsoft.com/office/powerpoint/2010/main" val="130449213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352608" y="979560"/>
            <a:ext cx="8438797" cy="3822578"/>
          </a:xfrm>
          <a:prstGeom prst="rect">
            <a:avLst/>
          </a:prstGeom>
        </p:spPr>
        <p:txBody>
          <a:bodyPr>
            <a:normAutofit/>
          </a:bodyPr>
          <a:lstStyle>
            <a:lvl1pPr>
              <a:defRPr lang="en-US" altLang="zh-CN" sz="1800" kern="1200" baseline="0" noProof="1" dirty="0" smtClean="0">
                <a:solidFill>
                  <a:schemeClr val="tx1"/>
                </a:solidFill>
                <a:latin typeface="+mn-lt"/>
                <a:ea typeface="+mn-ea"/>
                <a:cs typeface="+mn-cs"/>
              </a:defRPr>
            </a:lvl1pPr>
          </a:lstStyle>
          <a:p>
            <a:pPr marL="202500" lvl="0" indent="-203597" algn="l" defTabSz="735806" rtl="0" eaLnBrk="1" fontAlgn="base" latinLnBrk="0" hangingPunct="1">
              <a:lnSpc>
                <a:spcPct val="150000"/>
              </a:lnSpc>
              <a:spcBef>
                <a:spcPts val="450"/>
              </a:spcBef>
              <a:spcAft>
                <a:spcPct val="0"/>
              </a:spcAft>
              <a:buClr>
                <a:schemeClr val="tx1"/>
              </a:buClr>
              <a:buSzPct val="100000"/>
              <a:buFont typeface="Verdana" pitchFamily="34" charset="0"/>
              <a:buChar char="•"/>
            </a:pPr>
            <a:r>
              <a:rPr lang="en-US"/>
              <a:t>Click icon to add table</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24551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 name="Rectangle 2"/>
          <p:cNvSpPr/>
          <p:nvPr userDrawn="1"/>
        </p:nvSpPr>
        <p:spPr>
          <a:xfrm>
            <a:off x="0" y="1"/>
            <a:ext cx="9144000" cy="39995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rgbClr val="FFFFFF"/>
              </a:solidFill>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33255" y="4592062"/>
            <a:ext cx="2081852" cy="380285"/>
          </a:xfrm>
          <a:prstGeom prst="rect">
            <a:avLst/>
          </a:prstGeom>
        </p:spPr>
      </p:pic>
      <p:sp>
        <p:nvSpPr>
          <p:cNvPr id="13" name="Text Placeholder 12"/>
          <p:cNvSpPr>
            <a:spLocks noGrp="1"/>
          </p:cNvSpPr>
          <p:nvPr>
            <p:ph type="body" sz="quarter" idx="13" hasCustomPrompt="1"/>
          </p:nvPr>
        </p:nvSpPr>
        <p:spPr>
          <a:xfrm>
            <a:off x="571501" y="4460431"/>
            <a:ext cx="7449344" cy="294857"/>
          </a:xfrm>
        </p:spPr>
        <p:txBody>
          <a:bodyPr tIns="0"/>
          <a:lstStyle>
            <a:lvl1pPr marL="0" indent="0" algn="l">
              <a:spcBef>
                <a:spcPts val="0"/>
              </a:spcBef>
              <a:spcAft>
                <a:spcPts val="0"/>
              </a:spcAft>
              <a:buNone/>
              <a:defRPr sz="15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30"/>
            <a:ext cx="7449344" cy="346274"/>
          </a:xfrm>
        </p:spPr>
        <p:txBody>
          <a:bodyPr rIns="0" anchor="ctr"/>
          <a:lstStyle>
            <a:lvl1pPr marL="0" indent="0" algn="l">
              <a:buNone/>
              <a:defRPr sz="18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7" y="1743075"/>
            <a:ext cx="7441435" cy="514350"/>
          </a:xfrm>
          <a:prstGeom prst="rect">
            <a:avLst/>
          </a:prstGeom>
        </p:spPr>
        <p:txBody>
          <a:bodyPr vert="horz" lIns="0" tIns="0" rIns="0" bIns="0" anchor="ctr">
            <a:noAutofit/>
          </a:bodyPr>
          <a:lstStyle>
            <a:lvl1pPr algn="l">
              <a:defRPr sz="27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6757667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3156055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 no Content">
    <p:spTree>
      <p:nvGrpSpPr>
        <p:cNvPr id="1" name=""/>
        <p:cNvGrpSpPr/>
        <p:nvPr/>
      </p:nvGrpSpPr>
      <p:grpSpPr>
        <a:xfrm>
          <a:off x="0" y="0"/>
          <a:ext cx="0" cy="0"/>
          <a:chOff x="0" y="0"/>
          <a:chExt cx="0" cy="0"/>
        </a:xfrm>
      </p:grpSpPr>
      <p:sp>
        <p:nvSpPr>
          <p:cNvPr id="3" name="Rectangle 2"/>
          <p:cNvSpPr/>
          <p:nvPr userDrawn="1"/>
        </p:nvSpPr>
        <p:spPr>
          <a:xfrm>
            <a:off x="0" y="863972"/>
            <a:ext cx="9144000" cy="2057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en-US" sz="1800" dirty="0">
              <a:solidFill>
                <a:srgbClr val="FFFFFF"/>
              </a:solidFill>
            </a:endParaRPr>
          </a:p>
        </p:txBody>
      </p:sp>
      <p:sp>
        <p:nvSpPr>
          <p:cNvPr id="6" name="Rectangle 3"/>
          <p:cNvSpPr>
            <a:spLocks noGrp="1" noChangeArrowheads="1"/>
          </p:cNvSpPr>
          <p:nvPr>
            <p:ph type="title"/>
          </p:nvPr>
        </p:nvSpPr>
        <p:spPr bwMode="invGray">
          <a:xfrm>
            <a:off x="1" y="111569"/>
            <a:ext cx="7534274" cy="700739"/>
          </a:xfrm>
          <a:prstGeom prst="rect">
            <a:avLst/>
          </a:prstGeom>
          <a:noFill/>
          <a:ln w="9525">
            <a:noFill/>
            <a:miter lim="800000"/>
            <a:headEnd/>
            <a:tailEnd/>
          </a:ln>
          <a:effectLst/>
        </p:spPr>
        <p:txBody>
          <a:bodyPr vert="horz" wrap="square" lIns="91440" tIns="0" rIns="0" bIns="0" numCol="1" anchor="b" anchorCtr="0" compatLnSpc="1">
            <a:prstTxWarp prst="textNoShape">
              <a:avLst/>
            </a:prstTxWarp>
            <a:normAutofit/>
          </a:bodyPr>
          <a:lstStyle>
            <a:lvl1pPr marL="172641" indent="0" algn="l">
              <a:defRPr sz="2400">
                <a:solidFill>
                  <a:schemeClr val="tx2"/>
                </a:solidFill>
                <a:latin typeface="+mn-lt"/>
                <a:cs typeface="Arial" pitchFamily="34" charset="0"/>
              </a:defRPr>
            </a:lvl1pPr>
          </a:lstStyle>
          <a:p>
            <a:pPr lvl="0"/>
            <a:r>
              <a:rPr lang="en-US"/>
              <a:t>Click to edit Master title style</a:t>
            </a:r>
            <a:endParaRPr lang="en-US" dirty="0"/>
          </a:p>
        </p:txBody>
      </p:sp>
      <p:sp>
        <p:nvSpPr>
          <p:cNvPr id="9" name="Rectangle 8"/>
          <p:cNvSpPr/>
          <p:nvPr userDrawn="1"/>
        </p:nvSpPr>
        <p:spPr>
          <a:xfrm>
            <a:off x="0" y="0"/>
            <a:ext cx="9144000" cy="5143500"/>
          </a:xfrm>
          <a:prstGeom prst="rect">
            <a:avLst/>
          </a:prstGeom>
          <a:noFill/>
          <a:ln>
            <a:solidFill>
              <a:srgbClr val="8E97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en-US" sz="1800" dirty="0">
              <a:solidFill>
                <a:srgbClr val="FFFFFF"/>
              </a:solidFill>
            </a:endParaRPr>
          </a:p>
        </p:txBody>
      </p:sp>
      <p:sp>
        <p:nvSpPr>
          <p:cNvPr id="7" name="Rectangle 6"/>
          <p:cNvSpPr>
            <a:spLocks noChangeArrowheads="1"/>
          </p:cNvSpPr>
          <p:nvPr userDrawn="1"/>
        </p:nvSpPr>
        <p:spPr bwMode="auto">
          <a:xfrm>
            <a:off x="0" y="4991151"/>
            <a:ext cx="9144000" cy="175433"/>
          </a:xfrm>
          <a:prstGeom prst="rect">
            <a:avLst/>
          </a:prstGeom>
          <a:noFill/>
          <a:ln w="9525">
            <a:noFill/>
            <a:miter lim="800000"/>
            <a:headEnd/>
            <a:tailEnd/>
          </a:ln>
        </p:spPr>
        <p:txBody>
          <a:bodyPr wrap="square">
            <a:prstTxWarp prst="textNoShape">
              <a:avLst/>
            </a:prstTxWarp>
            <a:spAutoFit/>
          </a:bodyPr>
          <a:lstStyle/>
          <a:p>
            <a:pPr algn="r" eaLnBrk="0" fontAlgn="base" hangingPunct="0">
              <a:lnSpc>
                <a:spcPct val="90000"/>
              </a:lnSpc>
              <a:spcBef>
                <a:spcPct val="0"/>
              </a:spcBef>
              <a:spcAft>
                <a:spcPct val="0"/>
              </a:spcAft>
            </a:pPr>
            <a:r>
              <a:rPr lang="en-US" sz="600" dirty="0">
                <a:solidFill>
                  <a:prstClr val="black"/>
                </a:solidFill>
              </a:rPr>
              <a:t>For internal use only. Amgen Confidential</a:t>
            </a:r>
          </a:p>
        </p:txBody>
      </p:sp>
      <p:pic>
        <p:nvPicPr>
          <p:cNvPr id="8" name="Picture 2" descr="\\Sam-ds4\sod\4-Contractors\Tim Purcell\_Projects Archive\_Logos\2572 GLP Logo\GLP Lockups\GLP Lockup - Blu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33226" y="70114"/>
            <a:ext cx="2009775" cy="329804"/>
          </a:xfrm>
          <a:prstGeom prst="rect">
            <a:avLst/>
          </a:prstGeom>
          <a:noFill/>
          <a:extLst>
            <a:ext uri="{909E8E84-426E-40DD-AFC4-6F175D3DCCD1}">
              <a14:hiddenFill xmlns:a14="http://schemas.microsoft.com/office/drawing/2010/main">
                <a:solidFill>
                  <a:srgbClr val="FFFFFF"/>
                </a:solidFill>
              </a14:hiddenFill>
            </a:ext>
          </a:extLst>
        </p:spPr>
      </p:pic>
      <p:sp>
        <p:nvSpPr>
          <p:cNvPr id="10" name="SlideNumber"/>
          <p:cNvSpPr/>
          <p:nvPr userDrawn="1"/>
        </p:nvSpPr>
        <p:spPr>
          <a:xfrm>
            <a:off x="4401615" y="5005603"/>
            <a:ext cx="340770" cy="123444"/>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rIns="0" bIns="13716" rtlCol="0" anchor="b" anchorCtr="0"/>
          <a:lstStyle/>
          <a:p>
            <a:pPr algn="ctr" eaLnBrk="0" fontAlgn="base" hangingPunct="0">
              <a:lnSpc>
                <a:spcPct val="90000"/>
              </a:lnSpc>
              <a:spcBef>
                <a:spcPct val="0"/>
              </a:spcBef>
              <a:spcAft>
                <a:spcPct val="0"/>
              </a:spcAft>
            </a:pPr>
            <a:fld id="{BB69BBE8-4DB2-4642-B003-B220ACD5A2FD}" type="slidenum">
              <a:rPr lang="en-US" sz="600">
                <a:solidFill>
                  <a:srgbClr val="080808"/>
                </a:solidFill>
                <a:latin typeface="Verdana" pitchFamily="34" charset="0"/>
              </a:rPr>
              <a:pPr algn="ctr" eaLnBrk="0" fontAlgn="base" hangingPunct="0">
                <a:lnSpc>
                  <a:spcPct val="90000"/>
                </a:lnSpc>
                <a:spcBef>
                  <a:spcPct val="0"/>
                </a:spcBef>
                <a:spcAft>
                  <a:spcPct val="0"/>
                </a:spcAft>
              </a:pPr>
              <a:t>‹#›</a:t>
            </a:fld>
            <a:endParaRPr lang="fr-FR" sz="450" dirty="0">
              <a:solidFill>
                <a:srgbClr val="080808"/>
              </a:solidFill>
            </a:endParaRPr>
          </a:p>
        </p:txBody>
      </p:sp>
    </p:spTree>
    <p:extLst>
      <p:ext uri="{BB962C8B-B14F-4D97-AF65-F5344CB8AC3E}">
        <p14:creationId xmlns:p14="http://schemas.microsoft.com/office/powerpoint/2010/main" val="88722717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a:t>Click icon to add pictur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30179" y="4596223"/>
            <a:ext cx="1284927" cy="304711"/>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684125656"/>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6" name="Rectangle 5"/>
          <p:cNvSpPr/>
          <p:nvPr userDrawn="1"/>
        </p:nvSpPr>
        <p:spPr>
          <a:xfrm>
            <a:off x="0" y="4358640"/>
            <a:ext cx="9144000" cy="7848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30179" y="4596223"/>
            <a:ext cx="1284927" cy="304711"/>
          </a:xfrm>
          <a:prstGeom prst="rect">
            <a:avLst/>
          </a:prstGeom>
        </p:spPr>
      </p:pic>
      <p:sp>
        <p:nvSpPr>
          <p:cNvPr id="2" name="Title 1"/>
          <p:cNvSpPr>
            <a:spLocks noGrp="1"/>
          </p:cNvSpPr>
          <p:nvPr>
            <p:ph type="title" hasCustomPrompt="1"/>
          </p:nvPr>
        </p:nvSpPr>
        <p:spPr>
          <a:xfrm>
            <a:off x="571502" y="1797303"/>
            <a:ext cx="7441435" cy="514350"/>
          </a:xfrm>
          <a:prstGeom prst="rect">
            <a:avLst/>
          </a:prstGeom>
        </p:spPr>
        <p:txBody>
          <a:bodyPr vert="horz" lIns="0" tIns="0" rIns="0" bIns="0" anchor="ctr">
            <a:noAutofit/>
          </a:bodyPr>
          <a:lstStyle>
            <a:lvl1pPr algn="l">
              <a:defRPr sz="3600" b="1" spc="0" baseline="0">
                <a:solidFill>
                  <a:schemeClr val="accent1"/>
                </a:solidFill>
                <a:effectLst/>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91575901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2612697040"/>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a:t>CLICK TO EDIT MASTER TITLE STYLE</a:t>
            </a:r>
          </a:p>
        </p:txBody>
      </p:sp>
    </p:spTree>
    <p:extLst>
      <p:ext uri="{BB962C8B-B14F-4D97-AF65-F5344CB8AC3E}">
        <p14:creationId xmlns:p14="http://schemas.microsoft.com/office/powerpoint/2010/main" val="299424934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a:xfrm>
            <a:off x="363538" y="1280161"/>
            <a:ext cx="4132262" cy="31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5"/>
          </p:nvPr>
        </p:nvSpPr>
        <p:spPr>
          <a:xfrm>
            <a:off x="4648059" y="1280161"/>
            <a:ext cx="4132262" cy="31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867859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61933895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8" y="1554481"/>
            <a:ext cx="4133088"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a:t>CLICK TO EDIT MASTER TITLE STYLE</a:t>
            </a:r>
          </a:p>
        </p:txBody>
      </p:sp>
      <p:sp>
        <p:nvSpPr>
          <p:cNvPr id="5" name="Text Placeholder 4"/>
          <p:cNvSpPr>
            <a:spLocks noGrp="1"/>
          </p:cNvSpPr>
          <p:nvPr>
            <p:ph type="body" sz="quarter" idx="11"/>
          </p:nvPr>
        </p:nvSpPr>
        <p:spPr>
          <a:xfrm>
            <a:off x="363538"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
        <p:nvSpPr>
          <p:cNvPr id="6" name="Content Placeholder 3"/>
          <p:cNvSpPr>
            <a:spLocks noGrp="1"/>
          </p:cNvSpPr>
          <p:nvPr>
            <p:ph sz="quarter" idx="12"/>
          </p:nvPr>
        </p:nvSpPr>
        <p:spPr>
          <a:xfrm>
            <a:off x="4647374" y="1554481"/>
            <a:ext cx="4133088"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3"/>
          </p:nvPr>
        </p:nvSpPr>
        <p:spPr>
          <a:xfrm>
            <a:off x="4647374"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66087952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40811898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59458790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55232"/>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618936305"/>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638784330"/>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926712696"/>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84937036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2072581057"/>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26391855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504724913"/>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77996856"/>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596803042"/>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263600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dirty="0"/>
              <a:t>Click icon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5" y="4592059"/>
            <a:ext cx="2081852" cy="380285"/>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910918924"/>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4131875818"/>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6926461"/>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a:t>Click icon to add pictur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30179" y="4596223"/>
            <a:ext cx="1284927" cy="304711"/>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193821283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6" name="Rectangle 5"/>
          <p:cNvSpPr/>
          <p:nvPr userDrawn="1"/>
        </p:nvSpPr>
        <p:spPr>
          <a:xfrm>
            <a:off x="0" y="4358640"/>
            <a:ext cx="9144000" cy="7848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30179" y="4596223"/>
            <a:ext cx="1284927" cy="304711"/>
          </a:xfrm>
          <a:prstGeom prst="rect">
            <a:avLst/>
          </a:prstGeom>
        </p:spPr>
      </p:pic>
      <p:sp>
        <p:nvSpPr>
          <p:cNvPr id="2" name="Title 1"/>
          <p:cNvSpPr>
            <a:spLocks noGrp="1"/>
          </p:cNvSpPr>
          <p:nvPr>
            <p:ph type="title" hasCustomPrompt="1"/>
          </p:nvPr>
        </p:nvSpPr>
        <p:spPr>
          <a:xfrm>
            <a:off x="571502" y="1797303"/>
            <a:ext cx="7441435" cy="514350"/>
          </a:xfrm>
          <a:prstGeom prst="rect">
            <a:avLst/>
          </a:prstGeom>
        </p:spPr>
        <p:txBody>
          <a:bodyPr vert="horz" lIns="0" tIns="0" rIns="0" bIns="0" anchor="ctr">
            <a:noAutofit/>
          </a:bodyPr>
          <a:lstStyle>
            <a:lvl1pPr algn="l">
              <a:defRPr sz="3600" b="1" spc="0" baseline="0">
                <a:solidFill>
                  <a:schemeClr val="accent1"/>
                </a:solidFill>
                <a:effectLst/>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12827470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3530039358"/>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5931"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a:t>CLICK TO EDIT MASTER TITLE STYLE</a:t>
            </a:r>
          </a:p>
        </p:txBody>
      </p:sp>
    </p:spTree>
    <p:extLst>
      <p:ext uri="{BB962C8B-B14F-4D97-AF65-F5344CB8AC3E}">
        <p14:creationId xmlns:p14="http://schemas.microsoft.com/office/powerpoint/2010/main" val="59348756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a:xfrm>
            <a:off x="363538" y="1280161"/>
            <a:ext cx="4132262" cy="31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a:t>CLICK TO EDIT MASTER TITLE STYLE</a:t>
            </a:r>
          </a:p>
        </p:txBody>
      </p:sp>
      <p:sp>
        <p:nvSpPr>
          <p:cNvPr id="5" name="Content Placeholder 3"/>
          <p:cNvSpPr>
            <a:spLocks noGrp="1"/>
          </p:cNvSpPr>
          <p:nvPr>
            <p:ph sz="quarter" idx="15"/>
          </p:nvPr>
        </p:nvSpPr>
        <p:spPr>
          <a:xfrm>
            <a:off x="4648059" y="1280161"/>
            <a:ext cx="4132262" cy="31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73267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6955"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57463834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8" y="1554481"/>
            <a:ext cx="4133088"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a:t>CLICK TO EDIT MASTER TITLE STYLE</a:t>
            </a:r>
          </a:p>
        </p:txBody>
      </p:sp>
      <p:sp>
        <p:nvSpPr>
          <p:cNvPr id="5" name="Text Placeholder 4"/>
          <p:cNvSpPr>
            <a:spLocks noGrp="1"/>
          </p:cNvSpPr>
          <p:nvPr>
            <p:ph type="body" sz="quarter" idx="11"/>
          </p:nvPr>
        </p:nvSpPr>
        <p:spPr>
          <a:xfrm>
            <a:off x="363538"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
        <p:nvSpPr>
          <p:cNvPr id="6" name="Content Placeholder 3"/>
          <p:cNvSpPr>
            <a:spLocks noGrp="1"/>
          </p:cNvSpPr>
          <p:nvPr>
            <p:ph sz="quarter" idx="12"/>
          </p:nvPr>
        </p:nvSpPr>
        <p:spPr>
          <a:xfrm>
            <a:off x="4647374" y="1554481"/>
            <a:ext cx="4133088"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3"/>
          </p:nvPr>
        </p:nvSpPr>
        <p:spPr>
          <a:xfrm>
            <a:off x="4647374"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842234011"/>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25059584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7736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12113690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931737037"/>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3001163947"/>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244775715"/>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4836855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98853953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73875511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103130754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90991249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72772488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53358489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9542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10467151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179129874"/>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363231305"/>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3595870"/>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55145"/>
            <a:ext cx="6858000" cy="1477328"/>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E995FB65-D25B-4062-BF42-A91DAD81A865}" type="datetimeFigureOut">
              <a:rPr lang="en-US">
                <a:solidFill>
                  <a:srgbClr val="000000"/>
                </a:solidFill>
              </a:rPr>
              <a:pPr/>
              <a:t>11/18/2019</a:t>
            </a:fld>
            <a:endParaRPr lang="en-US">
              <a:solidFill>
                <a:srgbClr val="000000"/>
              </a:solidFill>
            </a:endParaRPr>
          </a:p>
        </p:txBody>
      </p:sp>
      <p:sp>
        <p:nvSpPr>
          <p:cNvPr id="5" name="Footer Placeholder 4"/>
          <p:cNvSpPr>
            <a:spLocks noGrp="1"/>
          </p:cNvSpPr>
          <p:nvPr>
            <p:ph type="ftr" sz="quarter" idx="11"/>
            <p:custDataLst>
              <p:tags r:id="rId1"/>
            </p:custDataLst>
          </p:nvPr>
        </p:nvSpPr>
        <p:spPr>
          <a:xfrm>
            <a:off x="0" y="4767264"/>
            <a:ext cx="9144000" cy="273844"/>
          </a:xfrm>
          <a:prstGeom prst="rect">
            <a:avLst/>
          </a:prstGeom>
        </p:spPr>
        <p:txBody>
          <a:bodyPr/>
          <a:lstStyle>
            <a:lvl1pPr>
              <a:defRPr lang="en-US" sz="600" b="0" i="0" u="none">
                <a:solidFill>
                  <a:srgbClr val="7F7F7F"/>
                </a:solidFill>
                <a:latin typeface="Arial" panose="020B0604020202020204" pitchFamily="34" charset="0"/>
              </a:defRPr>
            </a:lvl1pPr>
          </a:lstStyle>
          <a:p>
            <a:r>
              <a:t>Amgen Proprietary - Confidential</a:t>
            </a: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DFDA9474-28E6-4EB1-8C63-7F60958A09FA}"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60576499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3046BCA-3EA4-4784-A9A1-5D8E108E7A83}"/>
              </a:ext>
            </a:extLst>
          </p:cNvPr>
          <p:cNvSpPr>
            <a:spLocks noGrp="1"/>
          </p:cNvSpPr>
          <p:nvPr>
            <p:ph type="title"/>
          </p:nvPr>
        </p:nvSpPr>
        <p:spPr>
          <a:xfrm>
            <a:off x="940633" y="281065"/>
            <a:ext cx="7262735" cy="415978"/>
          </a:xfrm>
        </p:spPr>
        <p:txBody>
          <a:bodyPr>
            <a:normAutofit/>
          </a:bodyPr>
          <a:lstStyle>
            <a:lvl1pPr algn="ctr">
              <a:defRPr sz="2400" b="1">
                <a:solidFill>
                  <a:srgbClr val="0063C3"/>
                </a:solidFill>
                <a:latin typeface="+mn-lt"/>
              </a:defRPr>
            </a:lvl1pPr>
          </a:lstStyle>
          <a:p>
            <a:r>
              <a:rPr lang="en-US" dirty="0"/>
              <a:t>Click to edit Master title style</a:t>
            </a:r>
          </a:p>
        </p:txBody>
      </p:sp>
      <p:sp>
        <p:nvSpPr>
          <p:cNvPr id="11" name="Text Placeholder 3">
            <a:extLst>
              <a:ext uri="{FF2B5EF4-FFF2-40B4-BE49-F238E27FC236}">
                <a16:creationId xmlns:a16="http://schemas.microsoft.com/office/drawing/2014/main" id="{3A1A8C6B-7309-4F48-AA13-538283F3E6BD}"/>
              </a:ext>
            </a:extLst>
          </p:cNvPr>
          <p:cNvSpPr>
            <a:spLocks noGrp="1"/>
          </p:cNvSpPr>
          <p:nvPr>
            <p:ph type="body" sz="half" idx="15"/>
          </p:nvPr>
        </p:nvSpPr>
        <p:spPr>
          <a:xfrm>
            <a:off x="336629" y="768133"/>
            <a:ext cx="8470743" cy="319598"/>
          </a:xfrm>
        </p:spPr>
        <p:txBody>
          <a:bodyPr>
            <a:normAutofit/>
          </a:bodyPr>
          <a:lstStyle>
            <a:lvl1pPr marL="0" indent="0" algn="ctr">
              <a:buNone/>
              <a:defRPr sz="1800">
                <a:solidFill>
                  <a:schemeClr val="bg2">
                    <a:lumMod val="50000"/>
                  </a:schemeClr>
                </a:solidFill>
                <a:latin typeface="+mn-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13" name="Text Placeholder 3">
            <a:extLst>
              <a:ext uri="{FF2B5EF4-FFF2-40B4-BE49-F238E27FC236}">
                <a16:creationId xmlns:a16="http://schemas.microsoft.com/office/drawing/2014/main" id="{D75075E4-EC2D-4976-9C0A-A82E2898238C}"/>
              </a:ext>
            </a:extLst>
          </p:cNvPr>
          <p:cNvSpPr>
            <a:spLocks noGrp="1"/>
          </p:cNvSpPr>
          <p:nvPr>
            <p:ph type="body" sz="half" idx="16"/>
          </p:nvPr>
        </p:nvSpPr>
        <p:spPr>
          <a:xfrm>
            <a:off x="216424" y="2257792"/>
            <a:ext cx="2043344" cy="372955"/>
          </a:xfrm>
        </p:spPr>
        <p:txBody>
          <a:bodyPr>
            <a:normAutofit/>
          </a:bodyPr>
          <a:lstStyle>
            <a:lvl1pPr marL="0" indent="0">
              <a:buNone/>
              <a:defRPr sz="1800">
                <a:solidFill>
                  <a:schemeClr val="bg2">
                    <a:lumMod val="25000"/>
                  </a:schemeClr>
                </a:solidFill>
                <a:latin typeface="+mn-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14" name="Text Placeholder 3">
            <a:extLst>
              <a:ext uri="{FF2B5EF4-FFF2-40B4-BE49-F238E27FC236}">
                <a16:creationId xmlns:a16="http://schemas.microsoft.com/office/drawing/2014/main" id="{8E36BE92-ED33-48EC-8C35-71A82B287B4D}"/>
              </a:ext>
            </a:extLst>
          </p:cNvPr>
          <p:cNvSpPr>
            <a:spLocks noGrp="1"/>
          </p:cNvSpPr>
          <p:nvPr>
            <p:ph type="body" sz="half" idx="17"/>
          </p:nvPr>
        </p:nvSpPr>
        <p:spPr>
          <a:xfrm>
            <a:off x="185496" y="2757050"/>
            <a:ext cx="2043344" cy="1721122"/>
          </a:xfrm>
        </p:spPr>
        <p:txBody>
          <a:bodyPr/>
          <a:lstStyle>
            <a:lvl1pPr marL="0" indent="0">
              <a:buNone/>
              <a:defRPr sz="1200">
                <a:solidFill>
                  <a:srgbClr val="0063C3"/>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15" name="Text Placeholder 3">
            <a:extLst>
              <a:ext uri="{FF2B5EF4-FFF2-40B4-BE49-F238E27FC236}">
                <a16:creationId xmlns:a16="http://schemas.microsoft.com/office/drawing/2014/main" id="{D56DF8BC-B925-4E4E-B477-D51B2EA373EA}"/>
              </a:ext>
            </a:extLst>
          </p:cNvPr>
          <p:cNvSpPr>
            <a:spLocks noGrp="1"/>
          </p:cNvSpPr>
          <p:nvPr>
            <p:ph type="body" sz="half" idx="18"/>
          </p:nvPr>
        </p:nvSpPr>
        <p:spPr>
          <a:xfrm>
            <a:off x="2453893" y="2257792"/>
            <a:ext cx="2043344" cy="372955"/>
          </a:xfrm>
        </p:spPr>
        <p:txBody>
          <a:bodyPr>
            <a:normAutofit/>
          </a:bodyPr>
          <a:lstStyle>
            <a:lvl1pPr marL="0" indent="0">
              <a:buNone/>
              <a:defRPr sz="1800">
                <a:solidFill>
                  <a:schemeClr val="bg2">
                    <a:lumMod val="25000"/>
                  </a:schemeClr>
                </a:solidFill>
                <a:latin typeface="+mn-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16" name="Text Placeholder 3">
            <a:extLst>
              <a:ext uri="{FF2B5EF4-FFF2-40B4-BE49-F238E27FC236}">
                <a16:creationId xmlns:a16="http://schemas.microsoft.com/office/drawing/2014/main" id="{21680C2E-F268-4CD9-A927-DEA179D41E56}"/>
              </a:ext>
            </a:extLst>
          </p:cNvPr>
          <p:cNvSpPr>
            <a:spLocks noGrp="1"/>
          </p:cNvSpPr>
          <p:nvPr>
            <p:ph type="body" sz="half" idx="19"/>
          </p:nvPr>
        </p:nvSpPr>
        <p:spPr>
          <a:xfrm>
            <a:off x="2445263" y="2757050"/>
            <a:ext cx="2043344" cy="1742452"/>
          </a:xfrm>
        </p:spPr>
        <p:txBody>
          <a:bodyPr/>
          <a:lstStyle>
            <a:lvl1pPr marL="0" indent="0">
              <a:buNone/>
              <a:defRPr sz="1200">
                <a:solidFill>
                  <a:srgbClr val="0063C3"/>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17" name="Text Placeholder 3">
            <a:extLst>
              <a:ext uri="{FF2B5EF4-FFF2-40B4-BE49-F238E27FC236}">
                <a16:creationId xmlns:a16="http://schemas.microsoft.com/office/drawing/2014/main" id="{FC0F5BF4-198D-4649-81CD-8FCF4E9BC3C0}"/>
              </a:ext>
            </a:extLst>
          </p:cNvPr>
          <p:cNvSpPr>
            <a:spLocks noGrp="1"/>
          </p:cNvSpPr>
          <p:nvPr>
            <p:ph type="body" sz="half" idx="20"/>
          </p:nvPr>
        </p:nvSpPr>
        <p:spPr>
          <a:xfrm>
            <a:off x="4691362" y="2257792"/>
            <a:ext cx="2043344" cy="372955"/>
          </a:xfrm>
        </p:spPr>
        <p:txBody>
          <a:bodyPr>
            <a:normAutofit/>
          </a:bodyPr>
          <a:lstStyle>
            <a:lvl1pPr marL="0" indent="0">
              <a:buNone/>
              <a:defRPr sz="1800">
                <a:solidFill>
                  <a:schemeClr val="bg2">
                    <a:lumMod val="25000"/>
                  </a:schemeClr>
                </a:solidFill>
                <a:latin typeface="+mn-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18" name="Text Placeholder 3">
            <a:extLst>
              <a:ext uri="{FF2B5EF4-FFF2-40B4-BE49-F238E27FC236}">
                <a16:creationId xmlns:a16="http://schemas.microsoft.com/office/drawing/2014/main" id="{989A77D8-FFA4-4584-96D9-105E11E0E257}"/>
              </a:ext>
            </a:extLst>
          </p:cNvPr>
          <p:cNvSpPr>
            <a:spLocks noGrp="1"/>
          </p:cNvSpPr>
          <p:nvPr>
            <p:ph type="body" sz="half" idx="21"/>
          </p:nvPr>
        </p:nvSpPr>
        <p:spPr>
          <a:xfrm>
            <a:off x="4691362" y="2774709"/>
            <a:ext cx="2043344" cy="1710739"/>
          </a:xfrm>
        </p:spPr>
        <p:txBody>
          <a:bodyPr/>
          <a:lstStyle>
            <a:lvl1pPr marL="0" indent="0">
              <a:buNone/>
              <a:defRPr sz="1200">
                <a:solidFill>
                  <a:srgbClr val="0063C3"/>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cxnSp>
        <p:nvCxnSpPr>
          <p:cNvPr id="20" name="Straight Connector 19">
            <a:extLst>
              <a:ext uri="{FF2B5EF4-FFF2-40B4-BE49-F238E27FC236}">
                <a16:creationId xmlns:a16="http://schemas.microsoft.com/office/drawing/2014/main" id="{12149FF6-1327-460D-A48B-3DD36B03C4EF}"/>
              </a:ext>
            </a:extLst>
          </p:cNvPr>
          <p:cNvCxnSpPr>
            <a:cxnSpLocks/>
          </p:cNvCxnSpPr>
          <p:nvPr userDrawn="1"/>
        </p:nvCxnSpPr>
        <p:spPr>
          <a:xfrm>
            <a:off x="2353454" y="2282838"/>
            <a:ext cx="0" cy="1740577"/>
          </a:xfrm>
          <a:prstGeom prst="line">
            <a:avLst/>
          </a:prstGeom>
          <a:ln>
            <a:solidFill>
              <a:srgbClr val="0063C3"/>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FA75764C-570A-483E-AEED-FBE2C0AF64E6}"/>
              </a:ext>
            </a:extLst>
          </p:cNvPr>
          <p:cNvSpPr>
            <a:spLocks noGrp="1"/>
          </p:cNvSpPr>
          <p:nvPr>
            <p:ph type="body" sz="half" idx="22"/>
          </p:nvPr>
        </p:nvSpPr>
        <p:spPr>
          <a:xfrm>
            <a:off x="6928831" y="2257792"/>
            <a:ext cx="2043344" cy="372955"/>
          </a:xfrm>
        </p:spPr>
        <p:txBody>
          <a:bodyPr>
            <a:normAutofit/>
          </a:bodyPr>
          <a:lstStyle>
            <a:lvl1pPr marL="0" indent="0">
              <a:buNone/>
              <a:defRPr sz="1800">
                <a:solidFill>
                  <a:schemeClr val="bg2">
                    <a:lumMod val="25000"/>
                  </a:schemeClr>
                </a:solidFill>
                <a:latin typeface="+mn-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27" name="Text Placeholder 3">
            <a:extLst>
              <a:ext uri="{FF2B5EF4-FFF2-40B4-BE49-F238E27FC236}">
                <a16:creationId xmlns:a16="http://schemas.microsoft.com/office/drawing/2014/main" id="{C5F0C82C-719E-410E-8F3D-4B91136E27CA}"/>
              </a:ext>
            </a:extLst>
          </p:cNvPr>
          <p:cNvSpPr>
            <a:spLocks noGrp="1"/>
          </p:cNvSpPr>
          <p:nvPr>
            <p:ph type="body" sz="half" idx="23"/>
          </p:nvPr>
        </p:nvSpPr>
        <p:spPr>
          <a:xfrm>
            <a:off x="6928831" y="2776298"/>
            <a:ext cx="2043344" cy="1710739"/>
          </a:xfrm>
        </p:spPr>
        <p:txBody>
          <a:bodyPr/>
          <a:lstStyle>
            <a:lvl1pPr marL="0" indent="0">
              <a:buNone/>
              <a:defRPr sz="1200">
                <a:solidFill>
                  <a:srgbClr val="0063C3"/>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cxnSp>
        <p:nvCxnSpPr>
          <p:cNvPr id="28" name="Straight Connector 27">
            <a:extLst>
              <a:ext uri="{FF2B5EF4-FFF2-40B4-BE49-F238E27FC236}">
                <a16:creationId xmlns:a16="http://schemas.microsoft.com/office/drawing/2014/main" id="{3048DCEC-B4A3-4E82-9079-C16C437C7C2B}"/>
              </a:ext>
            </a:extLst>
          </p:cNvPr>
          <p:cNvCxnSpPr>
            <a:cxnSpLocks/>
          </p:cNvCxnSpPr>
          <p:nvPr userDrawn="1"/>
        </p:nvCxnSpPr>
        <p:spPr>
          <a:xfrm>
            <a:off x="4600105" y="2282838"/>
            <a:ext cx="0" cy="1740577"/>
          </a:xfrm>
          <a:prstGeom prst="line">
            <a:avLst/>
          </a:prstGeom>
          <a:ln>
            <a:solidFill>
              <a:srgbClr val="0063C3"/>
            </a:solidFill>
          </a:ln>
        </p:spPr>
        <p:style>
          <a:lnRef idx="1">
            <a:schemeClr val="accent1"/>
          </a:lnRef>
          <a:fillRef idx="0">
            <a:schemeClr val="accent1"/>
          </a:fillRef>
          <a:effectRef idx="0">
            <a:schemeClr val="accent1"/>
          </a:effectRef>
          <a:fontRef idx="minor">
            <a:schemeClr val="tx1"/>
          </a:fontRef>
        </p:style>
      </p:cxnSp>
      <p:sp>
        <p:nvSpPr>
          <p:cNvPr id="30" name="Picture Placeholder 10">
            <a:extLst>
              <a:ext uri="{FF2B5EF4-FFF2-40B4-BE49-F238E27FC236}">
                <a16:creationId xmlns:a16="http://schemas.microsoft.com/office/drawing/2014/main" id="{AC353BED-3057-456A-934F-7B8F65512F74}"/>
              </a:ext>
            </a:extLst>
          </p:cNvPr>
          <p:cNvSpPr>
            <a:spLocks noGrp="1"/>
          </p:cNvSpPr>
          <p:nvPr>
            <p:ph type="pic" sz="quarter" idx="10"/>
          </p:nvPr>
        </p:nvSpPr>
        <p:spPr>
          <a:xfrm>
            <a:off x="841743" y="1541546"/>
            <a:ext cx="730849" cy="606594"/>
          </a:xfrm>
        </p:spPr>
        <p:txBody>
          <a:bodyPr/>
          <a:lstStyle/>
          <a:p>
            <a:endParaRPr lang="en-US" dirty="0"/>
          </a:p>
        </p:txBody>
      </p:sp>
      <p:sp>
        <p:nvSpPr>
          <p:cNvPr id="31" name="Picture Placeholder 10">
            <a:extLst>
              <a:ext uri="{FF2B5EF4-FFF2-40B4-BE49-F238E27FC236}">
                <a16:creationId xmlns:a16="http://schemas.microsoft.com/office/drawing/2014/main" id="{6CD6D774-95AD-4F5C-A145-D246F55CE328}"/>
              </a:ext>
            </a:extLst>
          </p:cNvPr>
          <p:cNvSpPr>
            <a:spLocks noGrp="1"/>
          </p:cNvSpPr>
          <p:nvPr>
            <p:ph type="pic" sz="quarter" idx="24"/>
          </p:nvPr>
        </p:nvSpPr>
        <p:spPr>
          <a:xfrm>
            <a:off x="3110140" y="1541546"/>
            <a:ext cx="730849" cy="606594"/>
          </a:xfrm>
        </p:spPr>
        <p:txBody>
          <a:bodyPr/>
          <a:lstStyle/>
          <a:p>
            <a:endParaRPr lang="en-US" dirty="0"/>
          </a:p>
        </p:txBody>
      </p:sp>
      <p:sp>
        <p:nvSpPr>
          <p:cNvPr id="32" name="Picture Placeholder 10">
            <a:extLst>
              <a:ext uri="{FF2B5EF4-FFF2-40B4-BE49-F238E27FC236}">
                <a16:creationId xmlns:a16="http://schemas.microsoft.com/office/drawing/2014/main" id="{3304A5C4-19ED-4683-8117-6E9A4892FA8B}"/>
              </a:ext>
            </a:extLst>
          </p:cNvPr>
          <p:cNvSpPr>
            <a:spLocks noGrp="1"/>
          </p:cNvSpPr>
          <p:nvPr>
            <p:ph type="pic" sz="quarter" idx="25"/>
          </p:nvPr>
        </p:nvSpPr>
        <p:spPr>
          <a:xfrm>
            <a:off x="5347609" y="1503927"/>
            <a:ext cx="730849" cy="606594"/>
          </a:xfrm>
        </p:spPr>
        <p:txBody>
          <a:bodyPr/>
          <a:lstStyle/>
          <a:p>
            <a:endParaRPr lang="en-US" dirty="0"/>
          </a:p>
        </p:txBody>
      </p:sp>
      <p:sp>
        <p:nvSpPr>
          <p:cNvPr id="33" name="Picture Placeholder 10">
            <a:extLst>
              <a:ext uri="{FF2B5EF4-FFF2-40B4-BE49-F238E27FC236}">
                <a16:creationId xmlns:a16="http://schemas.microsoft.com/office/drawing/2014/main" id="{84317C21-61B6-472E-8FE2-F64A207BB502}"/>
              </a:ext>
            </a:extLst>
          </p:cNvPr>
          <p:cNvSpPr>
            <a:spLocks noGrp="1"/>
          </p:cNvSpPr>
          <p:nvPr>
            <p:ph type="pic" sz="quarter" idx="26"/>
          </p:nvPr>
        </p:nvSpPr>
        <p:spPr>
          <a:xfrm>
            <a:off x="7585078" y="1541546"/>
            <a:ext cx="730849" cy="606594"/>
          </a:xfrm>
        </p:spPr>
        <p:txBody>
          <a:bodyPr/>
          <a:lstStyle/>
          <a:p>
            <a:endParaRPr lang="en-US" dirty="0"/>
          </a:p>
        </p:txBody>
      </p:sp>
    </p:spTree>
    <p:extLst>
      <p:ext uri="{BB962C8B-B14F-4D97-AF65-F5344CB8AC3E}">
        <p14:creationId xmlns:p14="http://schemas.microsoft.com/office/powerpoint/2010/main" val="125885411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cSld name="Section header box">
    <p:bg bwMode="grayWhite">
      <p:bgPr>
        <a:gradFill flip="none" rotWithShape="1">
          <a:gsLst>
            <a:gs pos="0">
              <a:srgbClr val="0063C3"/>
            </a:gs>
            <a:gs pos="100000">
              <a:schemeClr val="accent1"/>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797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cap="all" baseline="0" dirty="0">
                <a:solidFill>
                  <a:schemeClr val="bg1"/>
                </a:solidFill>
                <a:latin typeface="Calibri" panose="020F0502020204030204" pitchFamily="34" charset="0"/>
                <a:ea typeface="+mj-ea"/>
                <a:cs typeface="+mj-cs"/>
                <a:sym typeface="Calibri" panose="020F0502020204030204" pitchFamily="34" charset="0"/>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algn="r">
              <a:defRPr/>
            </a:pPr>
            <a:fld id="{DFCF27A5-1A5B-48D3-A060-2758FFBB1ADD}" type="slidenum">
              <a:rPr lang="en-US" sz="750" smtClean="0">
                <a:solidFill>
                  <a:srgbClr val="FFFFFF"/>
                </a:solidFill>
                <a:latin typeface="+mn-lt"/>
                <a:cs typeface="+mn-cs"/>
                <a:sym typeface="+mn-lt"/>
              </a:rPr>
              <a:pPr algn="r">
                <a:defRPr/>
              </a:pPr>
              <a:t>‹#›</a:t>
            </a:fld>
            <a:endParaRPr lang="en-US" sz="750" dirty="0">
              <a:solidFill>
                <a:srgbClr val="FFFFFF"/>
              </a:solidFill>
              <a:latin typeface="+mn-lt"/>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mn-lt"/>
              </a:defRPr>
            </a:lvl1pPr>
          </a:lstStyle>
          <a:p>
            <a:endParaRPr lang="en-US" dirty="0">
              <a:solidFill>
                <a:srgbClr val="FFFFFF"/>
              </a:solidFill>
            </a:endParaRPr>
          </a:p>
        </p:txBody>
      </p:sp>
      <p:sp>
        <p:nvSpPr>
          <p:cNvPr id="59" name="Rectangle 58"/>
          <p:cNvSpPr/>
          <p:nvPr/>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srgbClr val="FFFFFF"/>
              </a:solidFill>
              <a:latin typeface="+mn-lt"/>
              <a:cs typeface="+mn-cs"/>
              <a:sym typeface="+mn-lt"/>
            </a:endParaRPr>
          </a:p>
        </p:txBody>
      </p:sp>
      <p:sp>
        <p:nvSpPr>
          <p:cNvPr id="9" name="FooterSimple" hidden="1"/>
          <p:cNvSpPr txBox="1"/>
          <p:nvPr>
            <p:custDataLst>
              <p:tags r:id="rId3"/>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srgbClr val="FFFFFF"/>
                </a:solidFill>
                <a:latin typeface="+mn-lt"/>
                <a:cs typeface="+mn-cs"/>
                <a:sym typeface="+mn-lt"/>
              </a:rPr>
              <a:t>DnA_AmgenOLT3082818_1900_29Aug18_ALP.pptx</a:t>
            </a:r>
            <a:endParaRPr lang="en-US" sz="525" dirty="0">
              <a:solidFill>
                <a:srgbClr val="FFFFFF"/>
              </a:solidFill>
              <a:latin typeface="+mn-lt"/>
              <a:cs typeface="+mn-cs"/>
              <a:sym typeface="+mn-lt"/>
            </a:endParaRPr>
          </a:p>
        </p:txBody>
      </p:sp>
    </p:spTree>
    <p:extLst>
      <p:ext uri="{BB962C8B-B14F-4D97-AF65-F5344CB8AC3E}">
        <p14:creationId xmlns:p14="http://schemas.microsoft.com/office/powerpoint/2010/main" val="118973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90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0" name="Freeform 14"/>
          <p:cNvSpPr/>
          <p:nvPr/>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3C3"/>
              </a:gs>
              <a:gs pos="100000">
                <a:srgbClr val="00548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cap="all" baseline="0">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mn-lt"/>
              </a:defRPr>
            </a:lvl1pPr>
          </a:lstStyle>
          <a:p>
            <a:endParaRPr lang="en-US" dirty="0">
              <a:solidFill>
                <a:srgbClr val="FFFFFF">
                  <a:lumMod val="50000"/>
                </a:srgbClr>
              </a:solidFill>
            </a:endParaRPr>
          </a:p>
        </p:txBody>
      </p:sp>
      <p:sp>
        <p:nvSpPr>
          <p:cNvPr id="16" name="TextBox 15"/>
          <p:cNvSpPr txBox="1"/>
          <p:nvPr/>
        </p:nvSpPr>
        <p:spPr>
          <a:xfrm>
            <a:off x="8375904" y="4803777"/>
            <a:ext cx="285750" cy="115416"/>
          </a:xfrm>
          <a:prstGeom prst="rect">
            <a:avLst/>
          </a:prstGeom>
          <a:noFill/>
        </p:spPr>
        <p:txBody>
          <a:bodyPr wrap="square" lIns="0" tIns="0" rIns="0" bIns="0" rtlCol="0" anchor="b">
            <a:spAutoFit/>
          </a:bodyPr>
          <a:lstStyle/>
          <a:p>
            <a:pPr algn="r">
              <a:defRPr/>
            </a:pPr>
            <a:fld id="{DFCF27A5-1A5B-48D3-A060-2758FFBB1ADD}" type="slidenum">
              <a:rPr lang="en-US" sz="750" smtClean="0">
                <a:solidFill>
                  <a:srgbClr val="FFFFFF">
                    <a:lumMod val="50000"/>
                  </a:srgbClr>
                </a:solidFill>
                <a:latin typeface="+mn-lt"/>
                <a:cs typeface="+mn-cs"/>
                <a:sym typeface="+mn-lt"/>
              </a:rPr>
              <a:pPr algn="r">
                <a:defRPr/>
              </a:pPr>
              <a:t>‹#›</a:t>
            </a:fld>
            <a:endParaRPr lang="en-US" sz="750" dirty="0">
              <a:solidFill>
                <a:srgbClr val="FFFFFF">
                  <a:lumMod val="50000"/>
                </a:srgbClr>
              </a:solidFill>
              <a:latin typeface="+mn-lt"/>
              <a:cs typeface="+mn-cs"/>
              <a:sym typeface="+mn-lt"/>
            </a:endParaRPr>
          </a:p>
        </p:txBody>
      </p:sp>
      <p:sp>
        <p:nvSpPr>
          <p:cNvPr id="19" name="FooterSimple" hidden="1"/>
          <p:cNvSpPr txBox="1"/>
          <p:nvPr>
            <p:custDataLst>
              <p:tags r:id="rId3"/>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srgbClr val="FFFFFF">
                    <a:lumMod val="50000"/>
                  </a:srgbClr>
                </a:solidFill>
                <a:latin typeface="+mn-lt"/>
                <a:cs typeface="+mn-cs"/>
                <a:sym typeface="+mn-lt"/>
              </a:rPr>
              <a:t>DnA_AmgenOLT3082818_1900_29Aug18_ALP.pptx</a:t>
            </a:r>
            <a:endParaRPr lang="en-US" sz="525" dirty="0">
              <a:solidFill>
                <a:srgbClr val="FFFFFF">
                  <a:lumMod val="50000"/>
                </a:srgbClr>
              </a:solidFill>
              <a:latin typeface="+mn-lt"/>
              <a:cs typeface="+mn-cs"/>
              <a:sym typeface="+mn-lt"/>
            </a:endParaRPr>
          </a:p>
        </p:txBody>
      </p:sp>
    </p:spTree>
    <p:extLst>
      <p:ext uri="{BB962C8B-B14F-4D97-AF65-F5344CB8AC3E}">
        <p14:creationId xmlns:p14="http://schemas.microsoft.com/office/powerpoint/2010/main" val="198240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9" y="4596223"/>
            <a:ext cx="1284927" cy="304711"/>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633257418"/>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0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380489518"/>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88132300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80693536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516713804"/>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428820192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13714517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842549124"/>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79451535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08479348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12675071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257571377"/>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81648927"/>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576708899"/>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3662330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36694429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50845671"/>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6048300" y="1007416"/>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9610892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309" y="1007416"/>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073390851"/>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0633187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17224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10901087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2241070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0688785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21782697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dirty="0">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71625020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50474548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8622421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40892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208555659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827992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7203538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dirty="0">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3906332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6802060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06803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3" name="Content Placeholder 12"/>
          <p:cNvSpPr>
            <a:spLocks noGrp="1"/>
          </p:cNvSpPr>
          <p:nvPr>
            <p:ph sz="quarter" idx="13" hasCustomPrompt="1"/>
          </p:nvPr>
        </p:nvSpPr>
        <p:spPr>
          <a:xfrm>
            <a:off x="1353820" y="4777742"/>
            <a:ext cx="27305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0" numCol="1" anchor="t" anchorCtr="0" compatLnSpc="1">
            <a:prstTxWarp prst="textNoShape">
              <a:avLst/>
            </a:prstTxWarp>
          </a:bodyPr>
          <a:lstStyle>
            <a:lvl1pPr marL="0" indent="0">
              <a:lnSpc>
                <a:spcPct val="100000"/>
              </a:lnSpc>
              <a:spcBef>
                <a:spcPts val="0"/>
              </a:spcBef>
              <a:spcAft>
                <a:spcPts val="0"/>
              </a:spcAft>
              <a:buNone/>
              <a:defRPr kumimoji="0" lang="en-US" sz="600" b="0" i="0" u="none" strike="noStrike" kern="0" cap="none" spc="0" normalizeH="0" baseline="0" dirty="0">
                <a:ln>
                  <a:noFill/>
                </a:ln>
                <a:solidFill>
                  <a:srgbClr val="595959"/>
                </a:solidFill>
                <a:effectLst/>
                <a:uLnTx/>
                <a:uFillTx/>
                <a:latin typeface="Arial"/>
              </a:defRPr>
            </a:lvl1pPr>
          </a:lstStyle>
          <a:p>
            <a:pPr marL="171450" lvl="0" indent="-171450" defTabSz="342900" eaLnBrk="0" hangingPunct="0">
              <a:lnSpc>
                <a:spcPct val="100000"/>
              </a:lnSpc>
              <a:spcBef>
                <a:spcPts val="0"/>
              </a:spcBef>
            </a:pPr>
            <a:r>
              <a:rPr lang="en-US" dirty="0"/>
              <a:t>Click to Add Text</a:t>
            </a:r>
          </a:p>
        </p:txBody>
      </p:sp>
      <p:sp>
        <p:nvSpPr>
          <p:cNvPr id="31" name="Title 30"/>
          <p:cNvSpPr>
            <a:spLocks noGrp="1"/>
          </p:cNvSpPr>
          <p:nvPr>
            <p:ph type="title" hasCustomPrompt="1"/>
          </p:nvPr>
        </p:nvSpPr>
        <p:spPr>
          <a:xfrm>
            <a:off x="512764" y="532166"/>
            <a:ext cx="8116887" cy="300082"/>
          </a:xfrm>
          <a:prstGeom prst="rect">
            <a:avLst/>
          </a:prstGeom>
        </p:spPr>
        <p:txBody>
          <a:bodyPr lIns="0" rIns="0" anchor="b"/>
          <a:lstStyle>
            <a:lvl1pPr algn="l">
              <a:defRPr sz="1350" baseline="0"/>
            </a:lvl1pPr>
          </a:lstStyle>
          <a:p>
            <a:r>
              <a:rPr lang="en-US" dirty="0"/>
              <a:t>Click to Add Text</a:t>
            </a:r>
          </a:p>
        </p:txBody>
      </p:sp>
      <p:sp>
        <p:nvSpPr>
          <p:cNvPr id="52" name="Text Placeholder 11"/>
          <p:cNvSpPr>
            <a:spLocks noGrp="1"/>
          </p:cNvSpPr>
          <p:nvPr>
            <p:ph type="body" sz="quarter" idx="21" hasCustomPrompt="1"/>
          </p:nvPr>
        </p:nvSpPr>
        <p:spPr>
          <a:xfrm>
            <a:off x="379476" y="4488214"/>
            <a:ext cx="8385048" cy="178772"/>
          </a:xfrm>
          <a:prstGeom prst="roundRect">
            <a:avLst/>
          </a:prstGeom>
          <a:solidFill>
            <a:srgbClr val="DCE6F2"/>
          </a:solidFill>
          <a:ln>
            <a:solidFill>
              <a:schemeClr val="tx1"/>
            </a:solidFill>
          </a:ln>
        </p:spPr>
        <p:txBody>
          <a:bodyPr vert="horz" wrap="square" lIns="91440" tIns="0" rIns="91440" bIns="0" numCol="1" anchor="ctr" anchorCtr="0" compatLnSpc="1">
            <a:prstTxWarp prst="textNoShape">
              <a:avLst/>
            </a:prstTxWarp>
          </a:bodyPr>
          <a:lstStyle>
            <a:lvl1pPr marL="0" indent="0" algn="ctr">
              <a:buNone/>
              <a:tabLst>
                <a:tab pos="42863" algn="l"/>
              </a:tabLst>
              <a:defRPr lang="en-US" sz="1050" b="1" baseline="0" dirty="0" smtClean="0">
                <a:solidFill>
                  <a:schemeClr val="tx1"/>
                </a:solidFill>
                <a:latin typeface="Arial" pitchFamily="34" charset="0"/>
                <a:ea typeface="+mn-ea"/>
                <a:cs typeface="Arial" pitchFamily="34" charset="0"/>
              </a:defRPr>
            </a:lvl1pPr>
          </a:lstStyle>
          <a:p>
            <a:pPr marL="0" marR="0" lvl="0" indent="0" algn="ctr" defTabSz="685800" eaLnBrk="1" latinLnBrk="0" hangingPunct="1">
              <a:lnSpc>
                <a:spcPct val="100000"/>
              </a:lnSpc>
              <a:spcBef>
                <a:spcPct val="0"/>
              </a:spcBef>
              <a:buClrTx/>
              <a:buSzTx/>
              <a:tabLst/>
            </a:pPr>
            <a:r>
              <a:rPr lang="en-US" dirty="0"/>
              <a:t>Click to Add Text</a:t>
            </a:r>
          </a:p>
        </p:txBody>
      </p:sp>
      <p:sp>
        <p:nvSpPr>
          <p:cNvPr id="54" name="Text Placeholder 53"/>
          <p:cNvSpPr>
            <a:spLocks noGrp="1"/>
          </p:cNvSpPr>
          <p:nvPr>
            <p:ph type="body" sz="quarter" idx="26" hasCustomPrompt="1"/>
          </p:nvPr>
        </p:nvSpPr>
        <p:spPr>
          <a:xfrm>
            <a:off x="3358419" y="63726"/>
            <a:ext cx="5276088" cy="150876"/>
          </a:xfrm>
          <a:prstGeom prst="rect">
            <a:avLst/>
          </a:prstGeom>
        </p:spPr>
        <p:txBody>
          <a:bodyPr lIns="0" tIns="0" rIns="0" bIns="0" anchor="ctr"/>
          <a:lstStyle>
            <a:lvl1pPr marL="0" indent="0" algn="r">
              <a:buNone/>
              <a:defRPr sz="975" b="0" i="1"/>
            </a:lvl1pPr>
          </a:lstStyle>
          <a:p>
            <a:pPr lvl="0"/>
            <a:r>
              <a:rPr lang="en-US" dirty="0"/>
              <a:t>Click to Add Text</a:t>
            </a:r>
          </a:p>
        </p:txBody>
      </p:sp>
      <p:sp>
        <p:nvSpPr>
          <p:cNvPr id="8" name="Content Placeholder 12"/>
          <p:cNvSpPr>
            <a:spLocks noGrp="1"/>
          </p:cNvSpPr>
          <p:nvPr>
            <p:ph sz="quarter" idx="27" hasCustomPrompt="1"/>
          </p:nvPr>
        </p:nvSpPr>
        <p:spPr>
          <a:xfrm>
            <a:off x="5053365" y="4777742"/>
            <a:ext cx="27305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0" numCol="1" anchor="t" anchorCtr="0" compatLnSpc="1">
            <a:prstTxWarp prst="textNoShape">
              <a:avLst/>
            </a:prstTxWarp>
          </a:bodyPr>
          <a:lstStyle>
            <a:lvl1pPr marL="0" indent="0">
              <a:lnSpc>
                <a:spcPct val="100000"/>
              </a:lnSpc>
              <a:spcBef>
                <a:spcPts val="0"/>
              </a:spcBef>
              <a:spcAft>
                <a:spcPts val="0"/>
              </a:spcAft>
              <a:buNone/>
              <a:defRPr kumimoji="0" lang="en-US" sz="600" b="0" i="0" u="none" strike="noStrike" kern="0" cap="none" spc="0" normalizeH="0" baseline="0" dirty="0">
                <a:ln>
                  <a:noFill/>
                </a:ln>
                <a:solidFill>
                  <a:srgbClr val="595959"/>
                </a:solidFill>
                <a:effectLst/>
                <a:uLnTx/>
                <a:uFillTx/>
                <a:latin typeface="Arial"/>
              </a:defRPr>
            </a:lvl1pPr>
          </a:lstStyle>
          <a:p>
            <a:pPr marL="171450" lvl="0" indent="-171450" defTabSz="342900" eaLnBrk="0" hangingPunct="0">
              <a:lnSpc>
                <a:spcPct val="100000"/>
              </a:lnSpc>
              <a:spcBef>
                <a:spcPts val="0"/>
              </a:spcBef>
            </a:pPr>
            <a:r>
              <a:rPr lang="en-US" dirty="0"/>
              <a:t>Click to Add Text</a:t>
            </a:r>
          </a:p>
        </p:txBody>
      </p:sp>
    </p:spTree>
    <p:extLst>
      <p:ext uri="{BB962C8B-B14F-4D97-AF65-F5344CB8AC3E}">
        <p14:creationId xmlns:p14="http://schemas.microsoft.com/office/powerpoint/2010/main" val="2117476735"/>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013383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8" y="4596226"/>
            <a:ext cx="1284927" cy="304711"/>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93115423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73471940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69"/>
            <a:ext cx="8416782" cy="492422"/>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8455514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9201339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581913">
              <a:defRPr/>
            </a:pPr>
            <a:endParaRPr lang="en-US" sz="500" dirty="0">
              <a:solidFill>
                <a:srgbClr val="FFFFFF"/>
              </a:solidFill>
            </a:endParaRPr>
          </a:p>
        </p:txBody>
      </p:sp>
      <p:sp>
        <p:nvSpPr>
          <p:cNvPr id="4" name="Content Placeholder 3"/>
          <p:cNvSpPr>
            <a:spLocks noGrp="1"/>
          </p:cNvSpPr>
          <p:nvPr>
            <p:ph sz="quarter" idx="10"/>
          </p:nvPr>
        </p:nvSpPr>
        <p:spPr>
          <a:xfrm>
            <a:off x="363542"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41" y="440186"/>
            <a:ext cx="8416925" cy="492422"/>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23" indent="0">
              <a:buNone/>
              <a:defRPr sz="2200">
                <a:solidFill>
                  <a:schemeClr val="accent1"/>
                </a:solidFill>
                <a:latin typeface="+mj-lt"/>
              </a:defRPr>
            </a:lvl2pPr>
            <a:lvl3pPr marL="457097" indent="0">
              <a:buNone/>
              <a:defRPr sz="2200">
                <a:solidFill>
                  <a:schemeClr val="accent1"/>
                </a:solidFill>
                <a:latin typeface="+mj-lt"/>
              </a:defRPr>
            </a:lvl3pPr>
            <a:lvl4pPr marL="688819" indent="0">
              <a:buNone/>
              <a:defRPr sz="2200">
                <a:solidFill>
                  <a:schemeClr val="accent1"/>
                </a:solidFill>
                <a:latin typeface="+mj-lt"/>
              </a:defRPr>
            </a:lvl4pPr>
            <a:lvl5pPr marL="914195"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66459582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7" y="1007709"/>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7" y="1007709"/>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4" y="1007709"/>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42" y="440269"/>
            <a:ext cx="8416925" cy="492422"/>
          </a:xfrm>
          <a:prstGeom prst="rect">
            <a:avLst/>
          </a:prstGeom>
        </p:spPr>
        <p:txBody>
          <a:bodyPr vert="horz" wrap="square" lIns="91420" tIns="45710" rIns="91420" bIns="4571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42826948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5" y="1008067"/>
            <a:ext cx="3074009" cy="3551237"/>
          </a:xfrm>
          <a:solidFill>
            <a:schemeClr val="accent1"/>
          </a:solidFill>
        </p:spPr>
        <p:txBody>
          <a:bodyPr lIns="182840" rIns="27426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42" y="440269"/>
            <a:ext cx="8416925" cy="492422"/>
          </a:xfrm>
          <a:prstGeom prst="rect">
            <a:avLst/>
          </a:prstGeom>
        </p:spPr>
        <p:txBody>
          <a:bodyPr vert="horz" wrap="square" lIns="91420" tIns="45710" rIns="91420" bIns="4571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82090020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4"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581913">
              <a:defRPr/>
            </a:pPr>
            <a:endParaRPr lang="en-US" sz="500" dirty="0">
              <a:solidFill>
                <a:srgbClr val="FFFFFF"/>
              </a:solidFill>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40" tIns="91420" rIns="274260" bIns="9142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1301695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a:xfrm>
            <a:off x="0" y="3908123"/>
            <a:ext cx="9144000" cy="651181"/>
          </a:xfrm>
          <a:solidFill>
            <a:schemeClr val="accent1"/>
          </a:solidFill>
        </p:spPr>
        <p:txBody>
          <a:bodyPr wrap="square" lIns="274260" tIns="91420" rIns="274260" bIns="9142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42"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45507532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6"/>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581913">
              <a:defRPr/>
            </a:pPr>
            <a:endParaRPr lang="en-US" sz="500" dirty="0">
              <a:solidFill>
                <a:srgbClr val="FFFFFF"/>
              </a:solidFill>
            </a:endParaRPr>
          </a:p>
        </p:txBody>
      </p:sp>
      <p:sp>
        <p:nvSpPr>
          <p:cNvPr id="10" name="Text Placeholder 9"/>
          <p:cNvSpPr>
            <a:spLocks noGrp="1"/>
          </p:cNvSpPr>
          <p:nvPr>
            <p:ph type="body" sz="quarter" idx="14"/>
          </p:nvPr>
        </p:nvSpPr>
        <p:spPr>
          <a:xfrm>
            <a:off x="0" y="3908123"/>
            <a:ext cx="9144000" cy="651181"/>
          </a:xfrm>
          <a:solidFill>
            <a:schemeClr val="accent1"/>
          </a:solidFill>
        </p:spPr>
        <p:txBody>
          <a:bodyPr wrap="square" lIns="274260" tIns="91420" rIns="274260" bIns="9142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42"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23" indent="0">
              <a:buNone/>
              <a:defRPr sz="2400">
                <a:solidFill>
                  <a:schemeClr val="accent1"/>
                </a:solidFill>
                <a:latin typeface="+mj-lt"/>
              </a:defRPr>
            </a:lvl2pPr>
            <a:lvl3pPr marL="457097" indent="0">
              <a:buNone/>
              <a:defRPr sz="2400">
                <a:solidFill>
                  <a:schemeClr val="accent1"/>
                </a:solidFill>
                <a:latin typeface="+mj-lt"/>
              </a:defRPr>
            </a:lvl3pPr>
            <a:lvl4pPr marL="688819" indent="0">
              <a:buNone/>
              <a:defRPr sz="2400">
                <a:solidFill>
                  <a:schemeClr val="accent1"/>
                </a:solidFill>
                <a:latin typeface="+mj-lt"/>
              </a:defRPr>
            </a:lvl4pPr>
            <a:lvl5pPr marL="914195"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44279754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71"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10" rtlCol="0" anchor="ctr"/>
          <a:lstStyle/>
          <a:p>
            <a:pPr algn="ctr" defTabSz="581913">
              <a:defRPr/>
            </a:pPr>
            <a:endParaRPr lang="en-US" sz="500" dirty="0">
              <a:solidFill>
                <a:srgbClr val="FFFFFF"/>
              </a:solidFill>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260" tIns="137130" rIns="91420" bIns="182840" anchor="ctr"/>
          <a:lstStyle>
            <a:lvl1pPr marL="0" indent="0" algn="l">
              <a:buClr>
                <a:schemeClr val="bg1"/>
              </a:buClr>
              <a:buNone/>
              <a:defRPr sz="2000">
                <a:solidFill>
                  <a:schemeClr val="bg1"/>
                </a:solidFill>
              </a:defRPr>
            </a:lvl1pPr>
            <a:lvl2pPr marL="169823" indent="0" algn="ctr">
              <a:buClr>
                <a:schemeClr val="bg1"/>
              </a:buClr>
              <a:buNone/>
              <a:defRPr>
                <a:solidFill>
                  <a:schemeClr val="bg1"/>
                </a:solidFill>
              </a:defRPr>
            </a:lvl2pPr>
            <a:lvl3pPr marL="34440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3" y="1146175"/>
            <a:ext cx="6001729" cy="352425"/>
          </a:xfrm>
        </p:spPr>
        <p:txBody>
          <a:bodyPr/>
          <a:lstStyle>
            <a:lvl1pPr marL="0" indent="0">
              <a:buNone/>
              <a:defRPr sz="2400">
                <a:solidFill>
                  <a:schemeClr val="accent1"/>
                </a:solidFill>
                <a:latin typeface="+mj-lt"/>
              </a:defRPr>
            </a:lvl1pPr>
            <a:lvl2pPr marL="231723" indent="0">
              <a:buNone/>
              <a:defRPr sz="2400">
                <a:solidFill>
                  <a:schemeClr val="accent1"/>
                </a:solidFill>
                <a:latin typeface="+mj-lt"/>
              </a:defRPr>
            </a:lvl2pPr>
            <a:lvl3pPr marL="457097" indent="0">
              <a:buNone/>
              <a:defRPr sz="2400">
                <a:solidFill>
                  <a:schemeClr val="accent1"/>
                </a:solidFill>
                <a:latin typeface="+mj-lt"/>
              </a:defRPr>
            </a:lvl3pPr>
            <a:lvl4pPr marL="688819" indent="0">
              <a:buNone/>
              <a:defRPr sz="2400">
                <a:solidFill>
                  <a:schemeClr val="accent1"/>
                </a:solidFill>
                <a:latin typeface="+mj-lt"/>
              </a:defRPr>
            </a:lvl4pPr>
            <a:lvl5pPr marL="914195"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85872173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10"/>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0" y="2833069"/>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6" y="2833068"/>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353904553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62085804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581913">
              <a:defRPr/>
            </a:pPr>
            <a:endParaRPr lang="en-US" sz="500" dirty="0">
              <a:solidFill>
                <a:srgbClr val="FFFFFF"/>
              </a:solidFill>
            </a:endParaRPr>
          </a:p>
        </p:txBody>
      </p:sp>
      <p:sp>
        <p:nvSpPr>
          <p:cNvPr id="8" name="Picture Placeholder 7"/>
          <p:cNvSpPr>
            <a:spLocks noGrp="1"/>
          </p:cNvSpPr>
          <p:nvPr>
            <p:ph type="pic" sz="quarter" idx="14"/>
          </p:nvPr>
        </p:nvSpPr>
        <p:spPr>
          <a:xfrm>
            <a:off x="1739034" y="1173693"/>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93"/>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8"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5338005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11750452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4"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9"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40" tIns="182840" rIns="182840" bIns="18284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021060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581913">
              <a:defRPr/>
            </a:pPr>
            <a:endParaRPr lang="en-US" sz="500" dirty="0">
              <a:solidFill>
                <a:srgbClr val="FFFFFF"/>
              </a:solidFill>
            </a:endParaRPr>
          </a:p>
        </p:txBody>
      </p:sp>
      <p:sp>
        <p:nvSpPr>
          <p:cNvPr id="8" name="Picture Placeholder 7"/>
          <p:cNvSpPr>
            <a:spLocks noGrp="1"/>
          </p:cNvSpPr>
          <p:nvPr>
            <p:ph type="pic" sz="quarter" idx="14"/>
          </p:nvPr>
        </p:nvSpPr>
        <p:spPr>
          <a:xfrm>
            <a:off x="6048302" y="1007419"/>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42" y="1280161"/>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7655863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6"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581913">
              <a:defRPr/>
            </a:pPr>
            <a:endParaRPr lang="en-US" sz="500" dirty="0">
              <a:solidFill>
                <a:srgbClr val="FFFFFF"/>
              </a:solidFill>
            </a:endParaRPr>
          </a:p>
        </p:txBody>
      </p:sp>
      <p:sp>
        <p:nvSpPr>
          <p:cNvPr id="8" name="Picture Placeholder 7"/>
          <p:cNvSpPr>
            <a:spLocks noGrp="1"/>
          </p:cNvSpPr>
          <p:nvPr>
            <p:ph type="pic" sz="quarter" idx="14"/>
          </p:nvPr>
        </p:nvSpPr>
        <p:spPr>
          <a:xfrm>
            <a:off x="-308" y="1007415"/>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1"/>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4"/>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199569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0704388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71658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512763" y="4798219"/>
            <a:ext cx="2794000" cy="273844"/>
          </a:xfrm>
          <a:prstGeom prst="rect">
            <a:avLst/>
          </a:prstGeom>
        </p:spPr>
        <p:txBody>
          <a:bodyPr/>
          <a:lstStyle>
            <a:lvl1pPr>
              <a:defRPr/>
            </a:lvl1pPr>
          </a:lstStyle>
          <a:p>
            <a:endParaRPr lang="en-US" dirty="0">
              <a:solidFill>
                <a:srgbClr val="000000"/>
              </a:solidFill>
            </a:endParaRPr>
          </a:p>
        </p:txBody>
      </p:sp>
      <p:sp>
        <p:nvSpPr>
          <p:cNvPr id="5" name="Slide Number Placeholder 4"/>
          <p:cNvSpPr>
            <a:spLocks noGrp="1"/>
          </p:cNvSpPr>
          <p:nvPr>
            <p:ph type="sldNum" sz="quarter" idx="11"/>
          </p:nvPr>
        </p:nvSpPr>
        <p:spPr>
          <a:xfrm>
            <a:off x="3617913" y="4798219"/>
            <a:ext cx="1905000" cy="273844"/>
          </a:xfrm>
          <a:prstGeom prst="rect">
            <a:avLst/>
          </a:prstGeom>
        </p:spPr>
        <p:txBody>
          <a:bodyPr/>
          <a:lstStyle>
            <a:lvl1pPr>
              <a:defRPr/>
            </a:lvl1pPr>
          </a:lstStyle>
          <a:p>
            <a:fld id="{978FDCCB-DA9A-4822-8F1F-CCC7E948CE58}" type="slidenum">
              <a:rPr lang="en-US" smtClean="0">
                <a:solidFill>
                  <a:srgbClr val="000000"/>
                </a:solidFill>
              </a:rPr>
              <a:pPr/>
              <a:t>‹#›</a:t>
            </a:fld>
            <a:endParaRPr lang="en-US" dirty="0">
              <a:solidFill>
                <a:srgbClr val="000000"/>
              </a:solidFill>
            </a:endParaRPr>
          </a:p>
        </p:txBody>
      </p:sp>
      <p:sp>
        <p:nvSpPr>
          <p:cNvPr id="6" name="Date Placeholder 5"/>
          <p:cNvSpPr>
            <a:spLocks noGrp="1"/>
          </p:cNvSpPr>
          <p:nvPr>
            <p:ph type="dt" sz="half" idx="12"/>
          </p:nvPr>
        </p:nvSpPr>
        <p:spPr>
          <a:xfrm>
            <a:off x="5834063" y="4798219"/>
            <a:ext cx="1905000" cy="273844"/>
          </a:xfrm>
          <a:prstGeom prst="rect">
            <a:avLst/>
          </a:prstGeom>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1525219833"/>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dirty="0"/>
              <a:t>Click icon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3254" y="4592058"/>
            <a:ext cx="2081852" cy="380285"/>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496048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2622718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76194623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61898888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54976847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3" y="1007705"/>
            <a:ext cx="2909455" cy="3551595"/>
          </a:xfrm>
        </p:spPr>
        <p:txBody>
          <a:bodyPr/>
          <a:lstStyle/>
          <a:p>
            <a:r>
              <a:rPr lang="en-US" dirty="0"/>
              <a:t>Click icon to add picture</a:t>
            </a:r>
          </a:p>
        </p:txBody>
      </p:sp>
      <p:sp>
        <p:nvSpPr>
          <p:cNvPr id="13" name="Picture Placeholder 12"/>
          <p:cNvSpPr>
            <a:spLocks noGrp="1"/>
          </p:cNvSpPr>
          <p:nvPr>
            <p:ph type="pic" sz="quarter" idx="14"/>
          </p:nvPr>
        </p:nvSpPr>
        <p:spPr>
          <a:xfrm>
            <a:off x="6066253" y="1007705"/>
            <a:ext cx="3075709" cy="3551595"/>
          </a:xfrm>
        </p:spPr>
        <p:txBody>
          <a:bodyPr/>
          <a:lstStyle/>
          <a:p>
            <a:r>
              <a:rPr lang="en-US" dirty="0"/>
              <a:t>Click icon to add picture</a:t>
            </a:r>
          </a:p>
        </p:txBody>
      </p:sp>
      <p:sp>
        <p:nvSpPr>
          <p:cNvPr id="6" name="Picture Placeholder 5"/>
          <p:cNvSpPr>
            <a:spLocks noGrp="1"/>
          </p:cNvSpPr>
          <p:nvPr>
            <p:ph type="pic" sz="quarter" idx="15"/>
          </p:nvPr>
        </p:nvSpPr>
        <p:spPr>
          <a:xfrm>
            <a:off x="0" y="1007705"/>
            <a:ext cx="3075709" cy="3551595"/>
          </a:xfrm>
        </p:spPr>
        <p:txBody>
          <a:bodyPr/>
          <a:lstStyle/>
          <a:p>
            <a:r>
              <a:rPr lang="en-US" dirty="0"/>
              <a:t>Click icon to add picture</a:t>
            </a:r>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231653641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1007707"/>
            <a:ext cx="6026727" cy="3551594"/>
          </a:xfrm>
        </p:spPr>
        <p:txBody>
          <a:bodyPr/>
          <a:lstStyle/>
          <a:p>
            <a:r>
              <a:rPr lang="en-US" dirty="0"/>
              <a:t>Click icon to add picture</a:t>
            </a:r>
          </a:p>
        </p:txBody>
      </p:sp>
      <p:sp>
        <p:nvSpPr>
          <p:cNvPr id="4" name="Content Placeholder 3"/>
          <p:cNvSpPr>
            <a:spLocks noGrp="1"/>
          </p:cNvSpPr>
          <p:nvPr>
            <p:ph sz="quarter" idx="13"/>
          </p:nvPr>
        </p:nvSpPr>
        <p:spPr>
          <a:xfrm>
            <a:off x="6069991" y="1008063"/>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1027651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0"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6053327" y="1005840"/>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5689600"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7979780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5"/>
          </p:nvPr>
        </p:nvSpPr>
        <p:spPr>
          <a:xfrm>
            <a:off x="363538" y="1280160"/>
            <a:ext cx="8416925" cy="242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2626262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50168721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8"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45">
              <a:defRPr/>
            </a:pPr>
            <a:endParaRPr lang="en-US" sz="521" dirty="0">
              <a:solidFill>
                <a:srgbClr val="FFFFFF"/>
              </a:solidFill>
            </a:endParaRPr>
          </a:p>
        </p:txBody>
      </p:sp>
      <p:sp>
        <p:nvSpPr>
          <p:cNvPr id="11" name="Text Placeholder 10"/>
          <p:cNvSpPr>
            <a:spLocks noGrp="1"/>
          </p:cNvSpPr>
          <p:nvPr>
            <p:ph type="body" sz="quarter" idx="16"/>
          </p:nvPr>
        </p:nvSpPr>
        <p:spPr>
          <a:xfrm>
            <a:off x="0"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63" indent="0" algn="ctr">
              <a:buClr>
                <a:schemeClr val="bg1"/>
              </a:buClr>
              <a:buNone/>
              <a:defRPr>
                <a:solidFill>
                  <a:schemeClr val="bg1"/>
                </a:solidFill>
              </a:defRPr>
            </a:lvl2pPr>
            <a:lvl3pPr marL="344487"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59" y="1146175"/>
            <a:ext cx="6001729"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258052197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4" y="1007706"/>
            <a:ext cx="2244436" cy="3552663"/>
          </a:xfrm>
        </p:spPr>
        <p:txBody>
          <a:bodyPr/>
          <a:lstStyle/>
          <a:p>
            <a:r>
              <a:rPr lang="en-US" dirty="0"/>
              <a:t>Click icon to add picture</a:t>
            </a:r>
          </a:p>
        </p:txBody>
      </p:sp>
      <p:sp>
        <p:nvSpPr>
          <p:cNvPr id="6" name="Picture Placeholder 5"/>
          <p:cNvSpPr>
            <a:spLocks noGrp="1"/>
          </p:cNvSpPr>
          <p:nvPr>
            <p:ph type="pic" sz="quarter" idx="12"/>
          </p:nvPr>
        </p:nvSpPr>
        <p:spPr>
          <a:xfrm>
            <a:off x="0" y="2833068"/>
            <a:ext cx="2265218" cy="1727301"/>
          </a:xfrm>
        </p:spPr>
        <p:txBody>
          <a:bodyPr/>
          <a:lstStyle/>
          <a:p>
            <a:r>
              <a:rPr lang="en-US" dirty="0"/>
              <a:t>Click icon to add picture</a:t>
            </a:r>
          </a:p>
        </p:txBody>
      </p:sp>
      <p:sp>
        <p:nvSpPr>
          <p:cNvPr id="8" name="Picture Placeholder 7"/>
          <p:cNvSpPr>
            <a:spLocks noGrp="1"/>
          </p:cNvSpPr>
          <p:nvPr>
            <p:ph type="pic" sz="quarter" idx="13"/>
          </p:nvPr>
        </p:nvSpPr>
        <p:spPr>
          <a:xfrm>
            <a:off x="0" y="1007706"/>
            <a:ext cx="4572000" cy="1784480"/>
          </a:xfrm>
        </p:spPr>
        <p:txBody>
          <a:bodyPr/>
          <a:lstStyle/>
          <a:p>
            <a:r>
              <a:rPr lang="en-US" dirty="0"/>
              <a:t>Click icon to add picture</a:t>
            </a:r>
          </a:p>
        </p:txBody>
      </p:sp>
      <p:sp>
        <p:nvSpPr>
          <p:cNvPr id="10" name="Picture Placeholder 9"/>
          <p:cNvSpPr>
            <a:spLocks noGrp="1"/>
          </p:cNvSpPr>
          <p:nvPr>
            <p:ph type="pic" sz="quarter" idx="14"/>
          </p:nvPr>
        </p:nvSpPr>
        <p:spPr>
          <a:xfrm>
            <a:off x="6891543" y="2833068"/>
            <a:ext cx="2244436" cy="1726232"/>
          </a:xfrm>
        </p:spPr>
        <p:txBody>
          <a:bodyPr/>
          <a:lstStyle/>
          <a:p>
            <a:r>
              <a:rPr lang="en-US" dirty="0"/>
              <a:t>Click icon to add picture</a:t>
            </a:r>
          </a:p>
        </p:txBody>
      </p:sp>
      <p:sp>
        <p:nvSpPr>
          <p:cNvPr id="12" name="Picture Placeholder 11"/>
          <p:cNvSpPr>
            <a:spLocks noGrp="1"/>
          </p:cNvSpPr>
          <p:nvPr>
            <p:ph type="pic" sz="quarter" idx="15"/>
          </p:nvPr>
        </p:nvSpPr>
        <p:spPr>
          <a:xfrm>
            <a:off x="6889720" y="1007706"/>
            <a:ext cx="2244436" cy="1784480"/>
          </a:xfrm>
        </p:spPr>
        <p:txBody>
          <a:bodyPr/>
          <a:lstStyle/>
          <a:p>
            <a:r>
              <a:rPr lang="en-US" dirty="0"/>
              <a:t>Click icon to add picture</a:t>
            </a:r>
          </a:p>
        </p:txBody>
      </p:sp>
      <p:sp>
        <p:nvSpPr>
          <p:cNvPr id="16" name="Picture Placeholder 15"/>
          <p:cNvSpPr>
            <a:spLocks noGrp="1"/>
          </p:cNvSpPr>
          <p:nvPr>
            <p:ph type="pic" sz="quarter" idx="17"/>
          </p:nvPr>
        </p:nvSpPr>
        <p:spPr>
          <a:xfrm>
            <a:off x="2306782" y="2833068"/>
            <a:ext cx="2265218" cy="1726232"/>
          </a:xfrm>
        </p:spPr>
        <p:txBody>
          <a:bodyPr/>
          <a:lstStyle/>
          <a:p>
            <a:r>
              <a:rPr lang="en-US" dirty="0"/>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5209227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dirty="0"/>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1573574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dirty="0"/>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dirty="0"/>
              <a:t>Click icon to add picture</a:t>
            </a:r>
          </a:p>
        </p:txBody>
      </p:sp>
      <p:sp>
        <p:nvSpPr>
          <p:cNvPr id="13" name="Text Placeholder 12"/>
          <p:cNvSpPr>
            <a:spLocks noGrp="1"/>
          </p:cNvSpPr>
          <p:nvPr>
            <p:ph type="body" sz="quarter" idx="16"/>
          </p:nvPr>
        </p:nvSpPr>
        <p:spPr>
          <a:xfrm>
            <a:off x="1739034" y="3734942"/>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14" name="Text Placeholder 12"/>
          <p:cNvSpPr>
            <a:spLocks noGrp="1"/>
          </p:cNvSpPr>
          <p:nvPr>
            <p:ph type="body" sz="quarter" idx="17"/>
          </p:nvPr>
        </p:nvSpPr>
        <p:spPr>
          <a:xfrm>
            <a:off x="4655416" y="3734942"/>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4347542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007707"/>
            <a:ext cx="3034145" cy="3551594"/>
          </a:xfrm>
        </p:spPr>
        <p:txBody>
          <a:bodyPr/>
          <a:lstStyle/>
          <a:p>
            <a:r>
              <a:rPr lang="en-US" dirty="0"/>
              <a:t>Click icon to add picture</a:t>
            </a:r>
          </a:p>
        </p:txBody>
      </p:sp>
      <p:sp>
        <p:nvSpPr>
          <p:cNvPr id="12" name="Picture Placeholder 7"/>
          <p:cNvSpPr>
            <a:spLocks noGrp="1"/>
          </p:cNvSpPr>
          <p:nvPr>
            <p:ph type="pic" sz="quarter" idx="15"/>
          </p:nvPr>
        </p:nvSpPr>
        <p:spPr>
          <a:xfrm>
            <a:off x="6109855" y="1007707"/>
            <a:ext cx="3034145" cy="3551594"/>
          </a:xfrm>
        </p:spPr>
        <p:txBody>
          <a:bodyPr/>
          <a:lstStyle/>
          <a:p>
            <a:r>
              <a:rPr lang="en-US" dirty="0"/>
              <a:t>Click icon to add picture</a:t>
            </a:r>
          </a:p>
        </p:txBody>
      </p:sp>
      <p:sp>
        <p:nvSpPr>
          <p:cNvPr id="9" name="Text Placeholder 8"/>
          <p:cNvSpPr>
            <a:spLocks noGrp="1"/>
          </p:cNvSpPr>
          <p:nvPr>
            <p:ph type="body" sz="quarter" idx="16"/>
          </p:nvPr>
        </p:nvSpPr>
        <p:spPr>
          <a:xfrm>
            <a:off x="3063240" y="1005840"/>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7201816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45"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19"/>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Click to edit Master text styles</a:t>
            </a:r>
          </a:p>
        </p:txBody>
      </p:sp>
      <p:sp>
        <p:nvSpPr>
          <p:cNvPr id="8" name="Content Placeholder 3"/>
          <p:cNvSpPr>
            <a:spLocks noGrp="1"/>
          </p:cNvSpPr>
          <p:nvPr>
            <p:ph sz="quarter" idx="10"/>
          </p:nvPr>
        </p:nvSpPr>
        <p:spPr>
          <a:xfrm>
            <a:off x="363538" y="1554481"/>
            <a:ext cx="8416925" cy="2203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8" y="1146175"/>
            <a:ext cx="8234362" cy="352425"/>
          </a:xfrm>
        </p:spPr>
        <p:txBody>
          <a:bodyPr/>
          <a:lstStyle>
            <a:lvl1pPr marL="0" indent="0">
              <a:buNone/>
              <a:defRPr sz="2400">
                <a:solidFill>
                  <a:schemeClr val="accent1"/>
                </a:solidFill>
                <a:latin typeface="+mj-lt"/>
              </a:defRPr>
            </a:lvl1pPr>
            <a:lvl2pPr marL="231775" indent="0">
              <a:buNone/>
              <a:defRPr sz="2400">
                <a:solidFill>
                  <a:schemeClr val="accent1"/>
                </a:solidFill>
                <a:latin typeface="+mj-lt"/>
              </a:defRPr>
            </a:lvl2pPr>
            <a:lvl3pPr marL="457200" indent="0">
              <a:buNone/>
              <a:defRPr sz="2400">
                <a:solidFill>
                  <a:schemeClr val="accent1"/>
                </a:solidFill>
                <a:latin typeface="+mj-lt"/>
              </a:defRPr>
            </a:lvl3pPr>
            <a:lvl4pPr marL="688975" indent="0">
              <a:buNone/>
              <a:defRPr sz="2400">
                <a:solidFill>
                  <a:schemeClr val="accent1"/>
                </a:solidFill>
                <a:latin typeface="+mj-lt"/>
              </a:defRPr>
            </a:lvl4pPr>
            <a:lvl5pPr marL="914400" indent="0">
              <a:buNone/>
              <a:defRPr sz="24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13956011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6048299" y="1007415"/>
            <a:ext cx="3096491" cy="2863127"/>
          </a:xfrm>
        </p:spPr>
        <p:txBody>
          <a:bodyPr/>
          <a:lstStyle/>
          <a:p>
            <a:r>
              <a:rPr lang="en-US" dirty="0"/>
              <a:t>Click icon to add picture</a:t>
            </a:r>
          </a:p>
        </p:txBody>
      </p:sp>
      <p:sp>
        <p:nvSpPr>
          <p:cNvPr id="10" name="Text Placeholder 12"/>
          <p:cNvSpPr>
            <a:spLocks noGrp="1"/>
          </p:cNvSpPr>
          <p:nvPr>
            <p:ph type="body" sz="quarter" idx="16"/>
          </p:nvPr>
        </p:nvSpPr>
        <p:spPr>
          <a:xfrm>
            <a:off x="6048299" y="3870542"/>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63538" y="1280160"/>
            <a:ext cx="5640921" cy="3172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927318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8" name="Picture Placeholder 7"/>
          <p:cNvSpPr>
            <a:spLocks noGrp="1"/>
          </p:cNvSpPr>
          <p:nvPr>
            <p:ph type="pic" sz="quarter" idx="14"/>
          </p:nvPr>
        </p:nvSpPr>
        <p:spPr>
          <a:xfrm>
            <a:off x="-310" y="1007415"/>
            <a:ext cx="3096491" cy="2866085"/>
          </a:xfrm>
        </p:spPr>
        <p:txBody>
          <a:bodyPr/>
          <a:lstStyle/>
          <a:p>
            <a:r>
              <a:rPr lang="en-US" dirty="0"/>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Click to edit Master text styles</a:t>
            </a:r>
          </a:p>
        </p:txBody>
      </p:sp>
      <p:sp>
        <p:nvSpPr>
          <p:cNvPr id="4" name="Content Placeholder 3"/>
          <p:cNvSpPr>
            <a:spLocks noGrp="1"/>
          </p:cNvSpPr>
          <p:nvPr>
            <p:ph sz="quarter" idx="17"/>
          </p:nvPr>
        </p:nvSpPr>
        <p:spPr>
          <a:xfrm>
            <a:off x="3225451" y="1280160"/>
            <a:ext cx="5555011" cy="3222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3660484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1999133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93364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94126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79"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512763" y="4798219"/>
            <a:ext cx="2794000" cy="273844"/>
          </a:xfrm>
          <a:prstGeom prst="rect">
            <a:avLst/>
          </a:prstGeom>
        </p:spPr>
        <p:txBody>
          <a:bodyPr/>
          <a:lstStyle>
            <a:lvl1pPr>
              <a:defRPr/>
            </a:lvl1pPr>
          </a:lstStyle>
          <a:p>
            <a:endParaRPr lang="en-US" dirty="0">
              <a:solidFill>
                <a:srgbClr val="000000"/>
              </a:solidFill>
            </a:endParaRPr>
          </a:p>
        </p:txBody>
      </p:sp>
      <p:sp>
        <p:nvSpPr>
          <p:cNvPr id="5" name="Slide Number Placeholder 4"/>
          <p:cNvSpPr>
            <a:spLocks noGrp="1"/>
          </p:cNvSpPr>
          <p:nvPr>
            <p:ph type="sldNum" sz="quarter" idx="11"/>
          </p:nvPr>
        </p:nvSpPr>
        <p:spPr>
          <a:xfrm>
            <a:off x="3617913" y="4798219"/>
            <a:ext cx="1905000" cy="273844"/>
          </a:xfrm>
          <a:prstGeom prst="rect">
            <a:avLst/>
          </a:prstGeom>
        </p:spPr>
        <p:txBody>
          <a:bodyPr/>
          <a:lstStyle>
            <a:lvl1pPr>
              <a:defRPr/>
            </a:lvl1pPr>
          </a:lstStyle>
          <a:p>
            <a:fld id="{978FDCCB-DA9A-4822-8F1F-CCC7E948CE58}" type="slidenum">
              <a:rPr lang="en-US" smtClean="0">
                <a:solidFill>
                  <a:srgbClr val="000000"/>
                </a:solidFill>
              </a:rPr>
              <a:pPr/>
              <a:t>‹#›</a:t>
            </a:fld>
            <a:endParaRPr lang="en-US" dirty="0">
              <a:solidFill>
                <a:srgbClr val="000000"/>
              </a:solidFill>
            </a:endParaRPr>
          </a:p>
        </p:txBody>
      </p:sp>
      <p:sp>
        <p:nvSpPr>
          <p:cNvPr id="6" name="Date Placeholder 5"/>
          <p:cNvSpPr>
            <a:spLocks noGrp="1"/>
          </p:cNvSpPr>
          <p:nvPr>
            <p:ph type="dt" sz="half" idx="12"/>
          </p:nvPr>
        </p:nvSpPr>
        <p:spPr>
          <a:xfrm>
            <a:off x="5834063" y="4798219"/>
            <a:ext cx="1905000" cy="273844"/>
          </a:xfrm>
          <a:prstGeom prst="rect">
            <a:avLst/>
          </a:prstGeom>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854831098"/>
      </p:ext>
    </p:extLst>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12764" y="339806"/>
            <a:ext cx="8116887" cy="492443"/>
          </a:xfrm>
        </p:spPr>
        <p:txBody>
          <a:bodyPr/>
          <a:lstStyle/>
          <a:p>
            <a:r>
              <a:rPr lang="en-US"/>
              <a:t>Click to edit Master title style</a:t>
            </a:r>
          </a:p>
        </p:txBody>
      </p:sp>
      <p:sp>
        <p:nvSpPr>
          <p:cNvPr id="3" name="Table Placeholder 2"/>
          <p:cNvSpPr>
            <a:spLocks noGrp="1"/>
          </p:cNvSpPr>
          <p:nvPr>
            <p:ph type="tbl" idx="1"/>
          </p:nvPr>
        </p:nvSpPr>
        <p:spPr>
          <a:xfrm>
            <a:off x="512764" y="1096566"/>
            <a:ext cx="8118475" cy="3361134"/>
          </a:xfrm>
        </p:spPr>
        <p:txBody>
          <a:bodyPr/>
          <a:lstStyle/>
          <a:p>
            <a:pPr lvl="0"/>
            <a:endParaRPr lang="en-US" noProof="0" dirty="0"/>
          </a:p>
        </p:txBody>
      </p:sp>
      <p:sp>
        <p:nvSpPr>
          <p:cNvPr id="4" name="Rectangle 4"/>
          <p:cNvSpPr>
            <a:spLocks noGrp="1" noChangeArrowheads="1"/>
          </p:cNvSpPr>
          <p:nvPr>
            <p:ph type="ftr" sz="quarter" idx="10"/>
          </p:nvPr>
        </p:nvSpPr>
        <p:spPr>
          <a:xfrm>
            <a:off x="512763" y="4798219"/>
            <a:ext cx="2794000" cy="273844"/>
          </a:xfrm>
          <a:prstGeom prst="rect">
            <a:avLst/>
          </a:prstGeom>
          <a:ln/>
        </p:spPr>
        <p:txBody>
          <a:bodyPr/>
          <a:lstStyle>
            <a:lvl1pPr>
              <a:defRPr/>
            </a:lvl1pPr>
          </a:lstStyle>
          <a:p>
            <a:pPr>
              <a:defRPr/>
            </a:pPr>
            <a:r>
              <a:rPr lang="en-AU" dirty="0">
                <a:solidFill>
                  <a:srgbClr val="777777"/>
                </a:solidFill>
              </a:rPr>
              <a:t>For Internal Use Only. Amgen Confidential.</a:t>
            </a:r>
          </a:p>
        </p:txBody>
      </p:sp>
      <p:sp>
        <p:nvSpPr>
          <p:cNvPr id="5" name="Rectangle 5"/>
          <p:cNvSpPr>
            <a:spLocks noGrp="1" noChangeArrowheads="1"/>
          </p:cNvSpPr>
          <p:nvPr>
            <p:ph type="sldNum" sz="quarter" idx="11"/>
          </p:nvPr>
        </p:nvSpPr>
        <p:spPr>
          <a:xfrm>
            <a:off x="3617913" y="4798219"/>
            <a:ext cx="1905000" cy="273844"/>
          </a:xfrm>
          <a:prstGeom prst="rect">
            <a:avLst/>
          </a:prstGeom>
          <a:ln/>
        </p:spPr>
        <p:txBody>
          <a:bodyPr/>
          <a:lstStyle>
            <a:lvl1pPr>
              <a:defRPr/>
            </a:lvl1pPr>
          </a:lstStyle>
          <a:p>
            <a:fld id="{1652B9C8-D460-4A57-A927-D71BEE9012D0}" type="slidenum">
              <a:rPr lang="en-AU">
                <a:solidFill>
                  <a:srgbClr val="777777"/>
                </a:solidFill>
              </a:rPr>
              <a:pPr/>
              <a:t>‹#›</a:t>
            </a:fld>
            <a:endParaRPr lang="en-AU" dirty="0">
              <a:solidFill>
                <a:srgbClr val="777777"/>
              </a:solidFill>
            </a:endParaRPr>
          </a:p>
        </p:txBody>
      </p:sp>
      <p:sp>
        <p:nvSpPr>
          <p:cNvPr id="6" name="Rectangle 6"/>
          <p:cNvSpPr>
            <a:spLocks noGrp="1" noChangeArrowheads="1"/>
          </p:cNvSpPr>
          <p:nvPr>
            <p:ph type="dt" sz="half" idx="12"/>
          </p:nvPr>
        </p:nvSpPr>
        <p:spPr>
          <a:xfrm>
            <a:off x="5834063" y="4798219"/>
            <a:ext cx="1905000" cy="273844"/>
          </a:xfrm>
          <a:prstGeom prst="rect">
            <a:avLst/>
          </a:prstGeom>
          <a:ln/>
        </p:spPr>
        <p:txBody>
          <a:bodyPr/>
          <a:lstStyle>
            <a:lvl1pPr>
              <a:defRPr/>
            </a:lvl1pPr>
          </a:lstStyle>
          <a:p>
            <a:endParaRPr lang="en-AU" dirty="0">
              <a:solidFill>
                <a:srgbClr val="777777"/>
              </a:solidFill>
            </a:endParaRPr>
          </a:p>
        </p:txBody>
      </p:sp>
    </p:spTree>
    <p:extLst>
      <p:ext uri="{BB962C8B-B14F-4D97-AF65-F5344CB8AC3E}">
        <p14:creationId xmlns:p14="http://schemas.microsoft.com/office/powerpoint/2010/main" val="811938860"/>
      </p:ext>
    </p:extLst>
  </p:cSld>
  <p:clrMapOvr>
    <a:masterClrMapping/>
  </p:clrMapOvr>
  <p:transitio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dirty="0"/>
              <a:t>Click icon to add pictu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8" y="4596222"/>
            <a:ext cx="1284927" cy="304711"/>
          </a:xfrm>
          <a:prstGeom prst="rect">
            <a:avLst/>
          </a:prstGeom>
        </p:spPr>
      </p:pic>
      <p:sp>
        <p:nvSpPr>
          <p:cNvPr id="13" name="Text Placeholder 12"/>
          <p:cNvSpPr>
            <a:spLocks noGrp="1"/>
          </p:cNvSpPr>
          <p:nvPr>
            <p:ph type="body" sz="quarter" idx="13" hasCustomPrompt="1"/>
          </p:nvPr>
        </p:nvSpPr>
        <p:spPr>
          <a:xfrm>
            <a:off x="571500"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0" y="4102227"/>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1"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929279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6"/>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7555169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6"/>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23224258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45">
              <a:defRPr/>
            </a:pPr>
            <a:endParaRPr lang="en-US" sz="521" dirty="0">
              <a:solidFill>
                <a:srgbClr val="FFFFFF"/>
              </a:solidFill>
            </a:endParaRPr>
          </a:p>
        </p:txBody>
      </p:sp>
      <p:sp>
        <p:nvSpPr>
          <p:cNvPr id="4" name="Content Placeholder 3"/>
          <p:cNvSpPr>
            <a:spLocks noGrp="1"/>
          </p:cNvSpPr>
          <p:nvPr>
            <p:ph sz="quarter" idx="10"/>
          </p:nvPr>
        </p:nvSpPr>
        <p:spPr>
          <a:xfrm>
            <a:off x="363538" y="1554480"/>
            <a:ext cx="8416925" cy="2924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7" y="440164"/>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5"/>
            <a:ext cx="8416924" cy="352425"/>
          </a:xfrm>
        </p:spPr>
        <p:txBody>
          <a:bodyPr/>
          <a:lstStyle>
            <a:lvl1pPr marL="0" indent="0">
              <a:buNone/>
              <a:defRPr sz="2400">
                <a:solidFill>
                  <a:schemeClr val="accent1"/>
                </a:solidFill>
                <a:latin typeface="+mj-lt"/>
              </a:defRPr>
            </a:lvl1pPr>
            <a:lvl2pPr marL="231775" indent="0">
              <a:buNone/>
              <a:defRPr sz="2200">
                <a:solidFill>
                  <a:schemeClr val="accent1"/>
                </a:solidFill>
                <a:latin typeface="+mj-lt"/>
              </a:defRPr>
            </a:lvl2pPr>
            <a:lvl3pPr marL="457200" indent="0">
              <a:buNone/>
              <a:defRPr sz="2200">
                <a:solidFill>
                  <a:schemeClr val="accent1"/>
                </a:solidFill>
                <a:latin typeface="+mj-lt"/>
              </a:defRPr>
            </a:lvl3pPr>
            <a:lvl4pPr marL="688975" indent="0">
              <a:buNone/>
              <a:defRPr sz="2200">
                <a:solidFill>
                  <a:schemeClr val="accent1"/>
                </a:solidFill>
                <a:latin typeface="+mj-lt"/>
              </a:defRPr>
            </a:lvl4pPr>
            <a:lvl5pPr marL="914400" indent="0">
              <a:buNone/>
              <a:defRPr sz="220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08122851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image" Target="../media/image5.png"/><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10" Type="http://schemas.openxmlformats.org/officeDocument/2006/relationships/slideLayout" Target="../slideLayouts/slideLayout187.xml"/><Relationship Id="rId19" Type="http://schemas.openxmlformats.org/officeDocument/2006/relationships/theme" Target="../theme/theme10.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2.png"/><Relationship Id="rId3" Type="http://schemas.openxmlformats.org/officeDocument/2006/relationships/slideLayout" Target="../slideLayouts/slideLayout198.xml"/><Relationship Id="rId21" Type="http://schemas.openxmlformats.org/officeDocument/2006/relationships/theme" Target="../theme/theme11.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1.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oleObject" Target="../embeddings/oleObject21.bin"/><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tags" Target="../tags/tag22.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vmlDrawing" Target="../drawings/vmlDrawing21.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image" Target="../media/image5.png"/><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10" Type="http://schemas.openxmlformats.org/officeDocument/2006/relationships/slideLayout" Target="../slideLayouts/slideLayout225.xml"/><Relationship Id="rId19" Type="http://schemas.openxmlformats.org/officeDocument/2006/relationships/theme" Target="../theme/theme12.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image" Target="../media/image5.png"/><Relationship Id="rId3" Type="http://schemas.openxmlformats.org/officeDocument/2006/relationships/slideLayout" Target="../slideLayouts/slideLayout236.xml"/><Relationship Id="rId21" Type="http://schemas.openxmlformats.org/officeDocument/2006/relationships/theme" Target="../theme/theme13.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image" Target="../media/image1.emf"/><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oleObject" Target="../embeddings/oleObject23.bin"/><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tags" Target="../tags/tag24.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vmlDrawing" Target="../drawings/vmlDrawing23.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ags" Target="../tags/tag25.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vmlDrawing" Target="../drawings/vmlDrawing24.v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24" Type="http://schemas.openxmlformats.org/officeDocument/2006/relationships/image" Target="../media/image2.png"/><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image" Target="../media/image1.emf"/><Relationship Id="rId10" Type="http://schemas.openxmlformats.org/officeDocument/2006/relationships/slideLayout" Target="../slideLayouts/slideLayout263.xml"/><Relationship Id="rId19" Type="http://schemas.openxmlformats.org/officeDocument/2006/relationships/theme" Target="../theme/theme14.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oleObject" Target="../embeddings/oleObject1.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image" Target="../media/image5.png"/><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theme" Target="../theme/theme15.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3" Type="http://schemas.openxmlformats.org/officeDocument/2006/relationships/slideLayout" Target="../slideLayouts/slideLayout293.xml"/><Relationship Id="rId21" Type="http://schemas.openxmlformats.org/officeDocument/2006/relationships/tags" Target="../tags/tag28.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vmlDrawing" Target="../drawings/vmlDrawing27.v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image" Target="../media/image5.png"/><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image" Target="../media/image8.emf"/><Relationship Id="rId10" Type="http://schemas.openxmlformats.org/officeDocument/2006/relationships/slideLayout" Target="../slideLayouts/slideLayout300.xml"/><Relationship Id="rId19" Type="http://schemas.openxmlformats.org/officeDocument/2006/relationships/theme" Target="../theme/theme16.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oleObject" Target="../embeddings/oleObject25.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3" Type="http://schemas.openxmlformats.org/officeDocument/2006/relationships/slideLayout" Target="../slideLayouts/slideLayout311.xml"/><Relationship Id="rId21" Type="http://schemas.openxmlformats.org/officeDocument/2006/relationships/vmlDrawing" Target="../drawings/vmlDrawing28.v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image" Target="../media/image5.png"/><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theme" Target="../theme/theme1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image" Target="../media/image9.emf"/><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oleObject" Target="../embeddings/oleObject26.bin"/><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tags" Target="../tags/tag2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tags" Target="../tags/tag34.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vmlDrawing" Target="../drawings/vmlDrawing33.v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image" Target="../media/image1.emf"/><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theme" Target="../theme/theme18.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oleObject" Target="../embeddings/oleObject31.bin"/><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image" Target="../media/image5.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slideLayout" Target="../slideLayouts/slideLayout363.xml"/><Relationship Id="rId18" Type="http://schemas.openxmlformats.org/officeDocument/2006/relationships/slideLayout" Target="../slideLayouts/slideLayout368.xml"/><Relationship Id="rId3" Type="http://schemas.openxmlformats.org/officeDocument/2006/relationships/slideLayout" Target="../slideLayouts/slideLayout353.xml"/><Relationship Id="rId21" Type="http://schemas.openxmlformats.org/officeDocument/2006/relationships/slideLayout" Target="../slideLayouts/slideLayout371.xml"/><Relationship Id="rId7" Type="http://schemas.openxmlformats.org/officeDocument/2006/relationships/slideLayout" Target="../slideLayouts/slideLayout357.xml"/><Relationship Id="rId12" Type="http://schemas.openxmlformats.org/officeDocument/2006/relationships/slideLayout" Target="../slideLayouts/slideLayout362.xml"/><Relationship Id="rId17" Type="http://schemas.openxmlformats.org/officeDocument/2006/relationships/slideLayout" Target="../slideLayouts/slideLayout367.xml"/><Relationship Id="rId2" Type="http://schemas.openxmlformats.org/officeDocument/2006/relationships/slideLayout" Target="../slideLayouts/slideLayout352.xml"/><Relationship Id="rId16" Type="http://schemas.openxmlformats.org/officeDocument/2006/relationships/slideLayout" Target="../slideLayouts/slideLayout366.xml"/><Relationship Id="rId20" Type="http://schemas.openxmlformats.org/officeDocument/2006/relationships/slideLayout" Target="../slideLayouts/slideLayout370.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5" Type="http://schemas.openxmlformats.org/officeDocument/2006/relationships/slideLayout" Target="../slideLayouts/slideLayout365.xml"/><Relationship Id="rId23" Type="http://schemas.openxmlformats.org/officeDocument/2006/relationships/image" Target="../media/image2.png"/><Relationship Id="rId10" Type="http://schemas.openxmlformats.org/officeDocument/2006/relationships/slideLayout" Target="../slideLayouts/slideLayout360.xml"/><Relationship Id="rId19" Type="http://schemas.openxmlformats.org/officeDocument/2006/relationships/slideLayout" Target="../slideLayouts/slideLayout369.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4.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vmlDrawing" Target="../drawings/vmlDrawing3.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2.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3.bin"/></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26" Type="http://schemas.openxmlformats.org/officeDocument/2006/relationships/theme" Target="../theme/theme20.xml"/><Relationship Id="rId3" Type="http://schemas.openxmlformats.org/officeDocument/2006/relationships/slideLayout" Target="../slideLayouts/slideLayout374.xml"/><Relationship Id="rId21" Type="http://schemas.openxmlformats.org/officeDocument/2006/relationships/slideLayout" Target="../slideLayouts/slideLayout392.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5" Type="http://schemas.openxmlformats.org/officeDocument/2006/relationships/slideLayout" Target="../slideLayouts/slideLayout396.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slideLayout" Target="../slideLayouts/slideLayout391.xml"/><Relationship Id="rId29" Type="http://schemas.openxmlformats.org/officeDocument/2006/relationships/oleObject" Target="../embeddings/oleObject32.bin"/><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24" Type="http://schemas.openxmlformats.org/officeDocument/2006/relationships/slideLayout" Target="../slideLayouts/slideLayout395.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23" Type="http://schemas.openxmlformats.org/officeDocument/2006/relationships/slideLayout" Target="../slideLayouts/slideLayout394.xml"/><Relationship Id="rId28" Type="http://schemas.openxmlformats.org/officeDocument/2006/relationships/tags" Target="../tags/tag35.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31" Type="http://schemas.openxmlformats.org/officeDocument/2006/relationships/image" Target="../media/image2.png"/><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 Id="rId22" Type="http://schemas.openxmlformats.org/officeDocument/2006/relationships/slideLayout" Target="../slideLayouts/slideLayout393.xml"/><Relationship Id="rId27" Type="http://schemas.openxmlformats.org/officeDocument/2006/relationships/vmlDrawing" Target="../drawings/vmlDrawing34.vml"/><Relationship Id="rId30" Type="http://schemas.openxmlformats.org/officeDocument/2006/relationships/image" Target="../media/image14.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3" Type="http://schemas.openxmlformats.org/officeDocument/2006/relationships/slideLayout" Target="../slideLayouts/slideLayout399.xml"/><Relationship Id="rId21" Type="http://schemas.openxmlformats.org/officeDocument/2006/relationships/tags" Target="../tags/tag43.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vmlDrawing" Target="../drawings/vmlDrawing39.v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image" Target="../media/image2.png"/><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image" Target="../media/image1.emf"/><Relationship Id="rId10" Type="http://schemas.openxmlformats.org/officeDocument/2006/relationships/slideLayout" Target="../slideLayouts/slideLayout406.xml"/><Relationship Id="rId19" Type="http://schemas.openxmlformats.org/officeDocument/2006/relationships/theme" Target="../theme/theme21.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oleObject" Target="../embeddings/oleObject3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image" Target="../media/image5.png"/><Relationship Id="rId3" Type="http://schemas.openxmlformats.org/officeDocument/2006/relationships/slideLayout" Target="../slideLayouts/slideLayout39.xml"/><Relationship Id="rId21" Type="http://schemas.openxmlformats.org/officeDocument/2006/relationships/theme" Target="../theme/theme3.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oleObject" Target="../embeddings/oleObject4.bin"/><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ags" Target="../tags/tag5.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vmlDrawing" Target="../drawings/vmlDrawing7.v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image" Target="../media/image2.png"/><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theme" Target="../theme/theme4.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image" Target="../media/image1.emf"/><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oleObject" Target="../embeddings/oleObject7.bin"/><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image" Target="../media/image5.png"/><Relationship Id="rId3" Type="http://schemas.openxmlformats.org/officeDocument/2006/relationships/slideLayout" Target="../slideLayouts/slideLayout78.xml"/><Relationship Id="rId21" Type="http://schemas.openxmlformats.org/officeDocument/2006/relationships/theme" Target="../theme/theme5.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image" Target="../media/image1.emf"/><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oleObject" Target="../embeddings/oleObject10.bin"/><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ags" Target="../tags/tag1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vmlDrawing" Target="../drawings/vmlDrawing10.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image" Target="../media/image1.emf"/><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oleObject" Target="../embeddings/oleObject13.bin"/><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tags" Target="../tags/tag14.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vmlDrawing" Target="../drawings/vmlDrawing13.v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theme" Target="../theme/theme6.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vmlDrawing" Target="../drawings/vmlDrawing15.v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image" Target="../media/image2.png"/><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7.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image" Target="../media/image1.emf"/><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oleObject" Target="../embeddings/oleObject15.bin"/><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ags" Target="../tags/tag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image" Target="../media/image1.emf"/><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oleObject" Target="../embeddings/oleObject19.bin"/><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tags" Target="../tags/tag20.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vmlDrawing" Target="../drawings/vmlDrawing19.v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 Id="rId27"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image" Target="../media/image1.emf"/><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oleObject" Target="../embeddings/oleObject20.bin"/><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tags" Target="../tags/tag21.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vmlDrawing" Target="../drawings/vmlDrawing20.v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theme" Target="../theme/theme9.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206779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5"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997763" y="4758499"/>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marL="0" marR="0" lvl="0" indent="0" algn="ctr" defTabSz="582045" rtl="0" eaLnBrk="1" fontAlgn="base" latinLnBrk="0" hangingPunct="1">
              <a:lnSpc>
                <a:spcPct val="100000"/>
              </a:lnSpc>
              <a:spcBef>
                <a:spcPct val="0"/>
              </a:spcBef>
              <a:spcAft>
                <a:spcPct val="0"/>
              </a:spcAft>
              <a:buClrTx/>
              <a:buSzTx/>
              <a:buFontTx/>
              <a:buNone/>
              <a:tabLst/>
              <a:defRPr/>
            </a:pPr>
            <a:fld id="{5909AF01-7EFE-4A29-B021-8BA707099C41}" type="slidenum">
              <a:rPr kumimoji="0" lang="en-US" sz="700" b="1" i="0" u="none" strike="noStrike" kern="1200" cap="none" spc="0" normalizeH="0" baseline="0" noProof="0">
                <a:ln>
                  <a:noFill/>
                </a:ln>
                <a:solidFill>
                  <a:srgbClr val="716F73"/>
                </a:solidFill>
                <a:effectLst/>
                <a:uLnTx/>
                <a:uFillTx/>
                <a:latin typeface="Arial"/>
                <a:ea typeface="+mn-ea"/>
                <a:cs typeface="+mn-cs"/>
              </a:rPr>
              <a:pPr marL="0" marR="0" lvl="0" indent="0" algn="ctr" defTabSz="582045" rtl="0" eaLnBrk="1" fontAlgn="base" latinLnBrk="0" hangingPunct="1">
                <a:lnSpc>
                  <a:spcPct val="100000"/>
                </a:lnSpc>
                <a:spcBef>
                  <a:spcPct val="0"/>
                </a:spcBef>
                <a:spcAft>
                  <a:spcPct val="0"/>
                </a:spcAft>
                <a:buClrTx/>
                <a:buSzTx/>
                <a:buFontTx/>
                <a:buNone/>
                <a:tabLst/>
                <a:defRPr/>
              </a:pPr>
              <a:t>‹#›</a:t>
            </a:fld>
            <a:endParaRPr kumimoji="0" lang="en-US" sz="700" b="1" i="0" u="none" strike="noStrike" kern="1200" cap="none" spc="0" normalizeH="0" baseline="0" noProof="0" dirty="0">
              <a:ln>
                <a:noFill/>
              </a:ln>
              <a:solidFill>
                <a:srgbClr val="716F73"/>
              </a:solidFill>
              <a:effectLst/>
              <a:uLnTx/>
              <a:uFillTx/>
              <a:latin typeface="Arial"/>
              <a:ea typeface="+mn-ea"/>
              <a:cs typeface="+mn-cs"/>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marL="0" marR="0" lvl="0" indent="0" algn="r" defTabSz="582045"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716F73"/>
                </a:solidFill>
                <a:effectLst/>
                <a:uLnTx/>
                <a:uFillTx/>
                <a:latin typeface="Arial"/>
                <a:ea typeface="+mn-ea"/>
                <a:cs typeface="+mn-cs"/>
              </a:rPr>
              <a:t>Amgen Proprietary—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2261347708"/>
      </p:ext>
    </p:extLst>
  </p:cSld>
  <p:clrMap bg1="lt1" tx1="dk1" bg2="lt2" tx2="dk2" accent1="accent1" accent2="accent2" accent3="accent3" accent4="accent4" accent5="accent5" accent6="accent6" hlink="hlink" folHlink="folHlink"/>
  <p:sldLayoutIdLst>
    <p:sldLayoutId id="2147483710" r:id="rId1"/>
    <p:sldLayoutId id="2147483718" r:id="rId2"/>
    <p:sldLayoutId id="2147483715" r:id="rId3"/>
    <p:sldLayoutId id="2147483717" r:id="rId4"/>
    <p:sldLayoutId id="2147483713" r:id="rId5"/>
    <p:sldLayoutId id="2147483712" r:id="rId6"/>
    <p:sldLayoutId id="2147483719" r:id="rId7"/>
    <p:sldLayoutId id="2147483720" r:id="rId8"/>
    <p:sldLayoutId id="214748373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997764" y="4755287"/>
            <a:ext cx="817857" cy="200375"/>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31">
              <a:defRPr/>
            </a:pPr>
            <a:r>
              <a:rPr lang="en-US" sz="700" b="1" dirty="0">
                <a:solidFill>
                  <a:srgbClr val="716F73"/>
                </a:solidFill>
              </a:rPr>
              <a:t>Amgen Proprietary—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3127255736"/>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Lst>
  <p:transition>
    <p:fade/>
  </p:transition>
  <p:hf hdr="0" ftr="0" dt="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5"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997763" y="4758499"/>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45">
              <a:defRPr/>
            </a:pPr>
            <a:fld id="{5909AF01-7EFE-4A29-B021-8BA707099C41}" type="slidenum">
              <a:rPr lang="en-US" sz="700">
                <a:solidFill>
                  <a:srgbClr val="716F73"/>
                </a:solidFill>
                <a:latin typeface="Arial"/>
              </a:rPr>
              <a:pPr defTabSz="582045">
                <a:defRPr/>
              </a:pPr>
              <a:t>‹#›</a:t>
            </a:fld>
            <a:endParaRPr lang="en-US" sz="700"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45">
              <a:defRPr/>
            </a:pPr>
            <a:r>
              <a:rPr lang="en-US" sz="700" b="1" dirty="0">
                <a:solidFill>
                  <a:srgbClr val="716F73"/>
                </a:solidFill>
              </a:rPr>
              <a:t>Amgen Proprietary—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2698446327"/>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997764" y="4755287"/>
            <a:ext cx="817857" cy="200375"/>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31">
              <a:defRPr/>
            </a:pPr>
            <a:r>
              <a:rPr lang="en-US" sz="700" b="1" dirty="0">
                <a:solidFill>
                  <a:srgbClr val="716F73"/>
                </a:solidFill>
              </a:rPr>
              <a:t>Amgen Proprietary—For 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dirty="0"/>
              <a:t>CLICK TO EDIT MASTER TITLE STYLE</a:t>
            </a:r>
          </a:p>
        </p:txBody>
      </p:sp>
    </p:spTree>
    <p:extLst>
      <p:ext uri="{BB962C8B-B14F-4D97-AF65-F5344CB8AC3E}">
        <p14:creationId xmlns:p14="http://schemas.microsoft.com/office/powerpoint/2010/main" val="1721090982"/>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3"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997763" y="4755286"/>
            <a:ext cx="817857" cy="200375"/>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marL="0" marR="0" lvl="0" indent="0" algn="ctr" defTabSz="582045" rtl="0" eaLnBrk="1" fontAlgn="base" latinLnBrk="0" hangingPunct="1">
              <a:lnSpc>
                <a:spcPct val="100000"/>
              </a:lnSpc>
              <a:spcBef>
                <a:spcPct val="0"/>
              </a:spcBef>
              <a:spcAft>
                <a:spcPct val="0"/>
              </a:spcAft>
              <a:buClrTx/>
              <a:buSzTx/>
              <a:buFontTx/>
              <a:buNone/>
              <a:tabLst/>
              <a:defRPr/>
            </a:pPr>
            <a:fld id="{5909AF01-7EFE-4A29-B021-8BA707099C41}" type="slidenum">
              <a:rPr kumimoji="0" lang="en-US" sz="700" b="1" i="0" u="none" strike="noStrike" kern="1200" cap="none" spc="0" normalizeH="0" baseline="0" noProof="0">
                <a:ln>
                  <a:noFill/>
                </a:ln>
                <a:solidFill>
                  <a:srgbClr val="716F73"/>
                </a:solidFill>
                <a:effectLst/>
                <a:uLnTx/>
                <a:uFillTx/>
                <a:latin typeface="Arial"/>
                <a:ea typeface="+mn-ea"/>
                <a:cs typeface="+mn-cs"/>
              </a:rPr>
              <a:pPr marL="0" marR="0" lvl="0" indent="0" algn="ctr" defTabSz="582045" rtl="0" eaLnBrk="1" fontAlgn="base" latinLnBrk="0" hangingPunct="1">
                <a:lnSpc>
                  <a:spcPct val="100000"/>
                </a:lnSpc>
                <a:spcBef>
                  <a:spcPct val="0"/>
                </a:spcBef>
                <a:spcAft>
                  <a:spcPct val="0"/>
                </a:spcAft>
                <a:buClrTx/>
                <a:buSzTx/>
                <a:buFontTx/>
                <a:buNone/>
                <a:tabLst/>
                <a:defRPr/>
              </a:pPr>
              <a:t>‹#›</a:t>
            </a:fld>
            <a:endParaRPr kumimoji="0" lang="en-US" sz="700" b="1" i="0" u="none" strike="noStrike" kern="1200" cap="none" spc="0" normalizeH="0" baseline="0" noProof="0" dirty="0">
              <a:ln>
                <a:noFill/>
              </a:ln>
              <a:solidFill>
                <a:srgbClr val="716F73"/>
              </a:solidFill>
              <a:effectLst/>
              <a:uLnTx/>
              <a:uFillTx/>
              <a:latin typeface="Arial"/>
              <a:ea typeface="+mn-ea"/>
              <a:cs typeface="+mn-cs"/>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marL="0" marR="0" lvl="0" indent="0" algn="r" defTabSz="582045"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716F73"/>
                </a:solidFill>
                <a:effectLst/>
                <a:uLnTx/>
                <a:uFillTx/>
                <a:latin typeface="Arial"/>
                <a:ea typeface="+mn-ea"/>
                <a:cs typeface="+mn-cs"/>
              </a:rPr>
              <a:t>Amgen Proprietary—For 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2358368298"/>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67"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997763" y="4758499"/>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marL="0" marR="0" lvl="0" indent="0" algn="ctr" defTabSz="582045" rtl="0" eaLnBrk="1" fontAlgn="base" latinLnBrk="0" hangingPunct="1">
              <a:lnSpc>
                <a:spcPct val="100000"/>
              </a:lnSpc>
              <a:spcBef>
                <a:spcPct val="0"/>
              </a:spcBef>
              <a:spcAft>
                <a:spcPct val="0"/>
              </a:spcAft>
              <a:buClrTx/>
              <a:buSzTx/>
              <a:buFontTx/>
              <a:buNone/>
              <a:tabLst/>
              <a:defRPr/>
            </a:pPr>
            <a:fld id="{5909AF01-7EFE-4A29-B021-8BA707099C41}" type="slidenum">
              <a:rPr kumimoji="0" lang="en-US" sz="700" b="1" i="0" u="none" strike="noStrike" kern="1200" cap="none" spc="0" normalizeH="0" baseline="0" noProof="0">
                <a:ln>
                  <a:noFill/>
                </a:ln>
                <a:solidFill>
                  <a:srgbClr val="716F73"/>
                </a:solidFill>
                <a:effectLst/>
                <a:uLnTx/>
                <a:uFillTx/>
                <a:latin typeface="Arial"/>
                <a:ea typeface="+mn-ea"/>
                <a:cs typeface="+mn-cs"/>
              </a:rPr>
              <a:pPr marL="0" marR="0" lvl="0" indent="0" algn="ctr" defTabSz="582045" rtl="0" eaLnBrk="1" fontAlgn="base" latinLnBrk="0" hangingPunct="1">
                <a:lnSpc>
                  <a:spcPct val="100000"/>
                </a:lnSpc>
                <a:spcBef>
                  <a:spcPct val="0"/>
                </a:spcBef>
                <a:spcAft>
                  <a:spcPct val="0"/>
                </a:spcAft>
                <a:buClrTx/>
                <a:buSzTx/>
                <a:buFontTx/>
                <a:buNone/>
                <a:tabLst/>
                <a:defRPr/>
              </a:pPr>
              <a:t>‹#›</a:t>
            </a:fld>
            <a:endParaRPr kumimoji="0" lang="en-US" sz="700" b="1" i="0" u="none" strike="noStrike" kern="1200" cap="none" spc="0" normalizeH="0" baseline="0" noProof="0" dirty="0">
              <a:ln>
                <a:noFill/>
              </a:ln>
              <a:solidFill>
                <a:srgbClr val="716F73"/>
              </a:solidFill>
              <a:effectLst/>
              <a:uLnTx/>
              <a:uFillTx/>
              <a:latin typeface="Arial"/>
              <a:ea typeface="+mn-ea"/>
              <a:cs typeface="+mn-cs"/>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marL="0" marR="0" lvl="0" indent="0" algn="r" defTabSz="582045"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716F73"/>
                </a:solidFill>
                <a:effectLst/>
                <a:uLnTx/>
                <a:uFillTx/>
                <a:latin typeface="Arial"/>
                <a:ea typeface="+mn-ea"/>
                <a:cs typeface="+mn-cs"/>
              </a:rPr>
              <a:t>Amgen Proprietary—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1173848911"/>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997763" y="4755286"/>
            <a:ext cx="817857" cy="200375"/>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marL="0" marR="0" lvl="0" indent="0" algn="ctr" defTabSz="582045" rtl="0" eaLnBrk="1" fontAlgn="base" latinLnBrk="0" hangingPunct="1">
              <a:lnSpc>
                <a:spcPct val="100000"/>
              </a:lnSpc>
              <a:spcBef>
                <a:spcPct val="0"/>
              </a:spcBef>
              <a:spcAft>
                <a:spcPct val="0"/>
              </a:spcAft>
              <a:buClrTx/>
              <a:buSzTx/>
              <a:buFontTx/>
              <a:buNone/>
              <a:tabLst/>
              <a:defRPr/>
            </a:pPr>
            <a:fld id="{5909AF01-7EFE-4A29-B021-8BA707099C41}" type="slidenum">
              <a:rPr kumimoji="0" lang="en-US" sz="700" b="1" i="0" u="none" strike="noStrike" kern="1200" cap="none" spc="0" normalizeH="0" baseline="0" noProof="0">
                <a:ln>
                  <a:noFill/>
                </a:ln>
                <a:solidFill>
                  <a:srgbClr val="716F73"/>
                </a:solidFill>
                <a:effectLst/>
                <a:uLnTx/>
                <a:uFillTx/>
                <a:latin typeface="Arial"/>
                <a:ea typeface="+mn-ea"/>
                <a:cs typeface="+mn-cs"/>
              </a:rPr>
              <a:pPr marL="0" marR="0" lvl="0" indent="0" algn="ctr" defTabSz="582045" rtl="0" eaLnBrk="1" fontAlgn="base" latinLnBrk="0" hangingPunct="1">
                <a:lnSpc>
                  <a:spcPct val="100000"/>
                </a:lnSpc>
                <a:spcBef>
                  <a:spcPct val="0"/>
                </a:spcBef>
                <a:spcAft>
                  <a:spcPct val="0"/>
                </a:spcAft>
                <a:buClrTx/>
                <a:buSzTx/>
                <a:buFontTx/>
                <a:buNone/>
                <a:tabLst/>
                <a:defRPr/>
              </a:pPr>
              <a:t>‹#›</a:t>
            </a:fld>
            <a:endParaRPr kumimoji="0" lang="en-US" sz="700" b="1" i="0" u="none" strike="noStrike" kern="1200" cap="none" spc="0" normalizeH="0" baseline="0" noProof="0">
              <a:ln>
                <a:noFill/>
              </a:ln>
              <a:solidFill>
                <a:srgbClr val="716F73"/>
              </a:solidFill>
              <a:effectLst/>
              <a:uLnTx/>
              <a:uFillTx/>
              <a:latin typeface="Arial"/>
              <a:ea typeface="+mn-ea"/>
              <a:cs typeface="+mn-cs"/>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marL="0" marR="0" lvl="0" indent="0" algn="r" defTabSz="582045"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716F73"/>
                </a:solidFill>
                <a:effectLst/>
                <a:uLnTx/>
                <a:uFillTx/>
                <a:latin typeface="Arial"/>
                <a:ea typeface="+mn-ea"/>
                <a:cs typeface="+mn-cs"/>
              </a:rPr>
              <a:t>Amgen Proprietary—For 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2450954507"/>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39"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997763" y="4755286"/>
            <a:ext cx="817857" cy="200375"/>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marL="0" marR="0" lvl="0" indent="0" algn="ctr" defTabSz="582045" rtl="0" eaLnBrk="1" fontAlgn="base" latinLnBrk="0" hangingPunct="1">
              <a:lnSpc>
                <a:spcPct val="100000"/>
              </a:lnSpc>
              <a:spcBef>
                <a:spcPct val="0"/>
              </a:spcBef>
              <a:spcAft>
                <a:spcPct val="0"/>
              </a:spcAft>
              <a:buClrTx/>
              <a:buSzTx/>
              <a:buFontTx/>
              <a:buNone/>
              <a:tabLst/>
              <a:defRPr/>
            </a:pPr>
            <a:fld id="{5909AF01-7EFE-4A29-B021-8BA707099C41}" type="slidenum">
              <a:rPr kumimoji="0" lang="en-US" sz="700" b="1" i="0" u="none" strike="noStrike" kern="1200" cap="none" spc="0" normalizeH="0" baseline="0" noProof="0">
                <a:ln>
                  <a:noFill/>
                </a:ln>
                <a:solidFill>
                  <a:srgbClr val="716F73"/>
                </a:solidFill>
                <a:effectLst/>
                <a:uLnTx/>
                <a:uFillTx/>
                <a:latin typeface="Arial"/>
                <a:ea typeface="+mn-ea"/>
                <a:cs typeface="+mn-cs"/>
              </a:rPr>
              <a:pPr marL="0" marR="0" lvl="0" indent="0" algn="ctr" defTabSz="582045" rtl="0" eaLnBrk="1" fontAlgn="base" latinLnBrk="0" hangingPunct="1">
                <a:lnSpc>
                  <a:spcPct val="100000"/>
                </a:lnSpc>
                <a:spcBef>
                  <a:spcPct val="0"/>
                </a:spcBef>
                <a:spcAft>
                  <a:spcPct val="0"/>
                </a:spcAft>
                <a:buClrTx/>
                <a:buSzTx/>
                <a:buFontTx/>
                <a:buNone/>
                <a:tabLst/>
                <a:defRPr/>
              </a:pPr>
              <a:t>‹#›</a:t>
            </a:fld>
            <a:endParaRPr kumimoji="0" lang="en-US" sz="700" b="1" i="0" u="none" strike="noStrike" kern="1200" cap="none" spc="0" normalizeH="0" baseline="0" noProof="0" dirty="0">
              <a:ln>
                <a:noFill/>
              </a:ln>
              <a:solidFill>
                <a:srgbClr val="716F73"/>
              </a:solidFill>
              <a:effectLst/>
              <a:uLnTx/>
              <a:uFillTx/>
              <a:latin typeface="Arial"/>
              <a:ea typeface="+mn-ea"/>
              <a:cs typeface="+mn-cs"/>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marL="0" marR="0" lvl="0" indent="0" algn="r" defTabSz="582045"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716F73"/>
                </a:solidFill>
                <a:effectLst/>
                <a:uLnTx/>
                <a:uFillTx/>
                <a:latin typeface="Arial"/>
                <a:ea typeface="+mn-ea"/>
                <a:cs typeface="+mn-cs"/>
              </a:rPr>
              <a:t>Amgen Proprietary—For 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ltLang="ja-JP"/>
              <a:t>Click to edit Master title style</a:t>
            </a:r>
            <a:endParaRPr lang="en-US" dirty="0"/>
          </a:p>
        </p:txBody>
      </p:sp>
    </p:spTree>
    <p:extLst>
      <p:ext uri="{BB962C8B-B14F-4D97-AF65-F5344CB8AC3E}">
        <p14:creationId xmlns:p14="http://schemas.microsoft.com/office/powerpoint/2010/main" val="1852877605"/>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69" r:id="rId16"/>
    <p:sldLayoutId id="2147484070" r:id="rId17"/>
    <p:sldLayoutId id="2147484071" r:id="rId18"/>
  </p:sldLayoutIdLst>
  <p:transition>
    <p:fade/>
  </p:transition>
  <p:hf hdr="0"/>
  <p:txStyles>
    <p:titleStyle>
      <a:lvl1pPr algn="l" defTabSz="285707" rtl="0" eaLnBrk="1" latinLnBrk="0" hangingPunct="1">
        <a:lnSpc>
          <a:spcPct val="100000"/>
        </a:lnSpc>
        <a:spcBef>
          <a:spcPct val="0"/>
        </a:spcBef>
        <a:buNone/>
        <a:defRPr kumimoji="1"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kumimoji="1"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kumimoji="1"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kumimoji="1"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kumimoji="1"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kumimoji="1"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kumimoji="1"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kumimoji="1"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kumimoji="1"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kumimoji="1" sz="563" kern="1200">
          <a:solidFill>
            <a:schemeClr val="tx1"/>
          </a:solidFill>
          <a:latin typeface="+mn-lt"/>
          <a:ea typeface="+mn-ea"/>
          <a:cs typeface="+mn-cs"/>
        </a:defRPr>
      </a:lvl9pPr>
    </p:bodyStyle>
    <p:otherStyle>
      <a:defPPr>
        <a:defRPr lang="en-US"/>
      </a:defPPr>
      <a:lvl1pPr marL="0" algn="l" defTabSz="285707" rtl="0" eaLnBrk="1" latinLnBrk="0" hangingPunct="1">
        <a:defRPr kumimoji="1" sz="563" kern="1200">
          <a:solidFill>
            <a:schemeClr val="tx1"/>
          </a:solidFill>
          <a:latin typeface="+mn-lt"/>
          <a:ea typeface="+mn-ea"/>
          <a:cs typeface="+mn-cs"/>
        </a:defRPr>
      </a:lvl1pPr>
      <a:lvl2pPr marL="142854" algn="l" defTabSz="285707" rtl="0" eaLnBrk="1" latinLnBrk="0" hangingPunct="1">
        <a:defRPr kumimoji="1" sz="563" kern="1200">
          <a:solidFill>
            <a:schemeClr val="tx1"/>
          </a:solidFill>
          <a:latin typeface="+mn-lt"/>
          <a:ea typeface="+mn-ea"/>
          <a:cs typeface="+mn-cs"/>
        </a:defRPr>
      </a:lvl2pPr>
      <a:lvl3pPr marL="285707" algn="l" defTabSz="285707" rtl="0" eaLnBrk="1" latinLnBrk="0" hangingPunct="1">
        <a:defRPr kumimoji="1" sz="563" kern="1200">
          <a:solidFill>
            <a:schemeClr val="tx1"/>
          </a:solidFill>
          <a:latin typeface="+mn-lt"/>
          <a:ea typeface="+mn-ea"/>
          <a:cs typeface="+mn-cs"/>
        </a:defRPr>
      </a:lvl3pPr>
      <a:lvl4pPr marL="428561" algn="l" defTabSz="285707" rtl="0" eaLnBrk="1" latinLnBrk="0" hangingPunct="1">
        <a:defRPr kumimoji="1" sz="563" kern="1200">
          <a:solidFill>
            <a:schemeClr val="tx1"/>
          </a:solidFill>
          <a:latin typeface="+mn-lt"/>
          <a:ea typeface="+mn-ea"/>
          <a:cs typeface="+mn-cs"/>
        </a:defRPr>
      </a:lvl4pPr>
      <a:lvl5pPr marL="571415" algn="l" defTabSz="285707" rtl="0" eaLnBrk="1" latinLnBrk="0" hangingPunct="1">
        <a:defRPr kumimoji="1" sz="563" kern="1200">
          <a:solidFill>
            <a:schemeClr val="tx1"/>
          </a:solidFill>
          <a:latin typeface="+mn-lt"/>
          <a:ea typeface="+mn-ea"/>
          <a:cs typeface="+mn-cs"/>
        </a:defRPr>
      </a:lvl5pPr>
      <a:lvl6pPr marL="714269" algn="l" defTabSz="285707" rtl="0" eaLnBrk="1" latinLnBrk="0" hangingPunct="1">
        <a:defRPr kumimoji="1" sz="563" kern="1200">
          <a:solidFill>
            <a:schemeClr val="tx1"/>
          </a:solidFill>
          <a:latin typeface="+mn-lt"/>
          <a:ea typeface="+mn-ea"/>
          <a:cs typeface="+mn-cs"/>
        </a:defRPr>
      </a:lvl6pPr>
      <a:lvl7pPr marL="857122" algn="l" defTabSz="285707" rtl="0" eaLnBrk="1" latinLnBrk="0" hangingPunct="1">
        <a:defRPr kumimoji="1" sz="563" kern="1200">
          <a:solidFill>
            <a:schemeClr val="tx1"/>
          </a:solidFill>
          <a:latin typeface="+mn-lt"/>
          <a:ea typeface="+mn-ea"/>
          <a:cs typeface="+mn-cs"/>
        </a:defRPr>
      </a:lvl7pPr>
      <a:lvl8pPr marL="999976" algn="l" defTabSz="285707" rtl="0" eaLnBrk="1" latinLnBrk="0" hangingPunct="1">
        <a:defRPr kumimoji="1" sz="563" kern="1200">
          <a:solidFill>
            <a:schemeClr val="tx1"/>
          </a:solidFill>
          <a:latin typeface="+mn-lt"/>
          <a:ea typeface="+mn-ea"/>
          <a:cs typeface="+mn-cs"/>
        </a:defRPr>
      </a:lvl8pPr>
      <a:lvl9pPr marL="1142830" algn="l" defTabSz="285707" rtl="0" eaLnBrk="1" latinLnBrk="0" hangingPunct="1">
        <a:defRPr kumimoji="1" sz="563"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63"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997765" y="4755287"/>
            <a:ext cx="817857" cy="200375"/>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45">
              <a:defRPr/>
            </a:pPr>
            <a:fld id="{5909AF01-7EFE-4A29-B021-8BA707099C41}" type="slidenum">
              <a:rPr lang="en-US" sz="700">
                <a:solidFill>
                  <a:srgbClr val="716F73"/>
                </a:solidFill>
                <a:latin typeface="Arial"/>
              </a:rPr>
              <a:pPr defTabSz="582045">
                <a:defRPr/>
              </a:pPr>
              <a:t>‹#›</a:t>
            </a:fld>
            <a:endParaRPr lang="en-US" sz="70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45">
              <a:defRPr/>
            </a:pPr>
            <a:r>
              <a:rPr lang="en-US" sz="700" b="1">
                <a:solidFill>
                  <a:srgbClr val="716F73"/>
                </a:solidFill>
              </a:rPr>
              <a:t>Amgen Proprietary—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6"/>
          <p:cNvSpPr>
            <a:spLocks noGrp="1"/>
          </p:cNvSpPr>
          <p:nvPr>
            <p:ph type="title"/>
          </p:nvPr>
        </p:nvSpPr>
        <p:spPr>
          <a:xfrm>
            <a:off x="363539" y="440166"/>
            <a:ext cx="8416925" cy="492443"/>
          </a:xfrm>
          <a:prstGeom prst="rect">
            <a:avLst/>
          </a:prstGeom>
        </p:spPr>
        <p:txBody>
          <a:bodyPr vert="horz" lIns="91440" tIns="45720" rIns="91440" bIns="45720" rtlCol="0" anchor="b" anchorCtr="0">
            <a:spAutoFit/>
          </a:bodyPr>
          <a:lstStyle/>
          <a:p>
            <a:r>
              <a:rPr lang="en-US"/>
              <a:t>Click to edit Master title style</a:t>
            </a:r>
          </a:p>
        </p:txBody>
      </p:sp>
    </p:spTree>
    <p:extLst>
      <p:ext uri="{BB962C8B-B14F-4D97-AF65-F5344CB8AC3E}">
        <p14:creationId xmlns:p14="http://schemas.microsoft.com/office/powerpoint/2010/main" val="3049258706"/>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Lst>
  <p:transition>
    <p:fade/>
  </p:transition>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997767" y="4755289"/>
            <a:ext cx="817857" cy="200375"/>
          </a:xfrm>
          <a:prstGeom prst="rect">
            <a:avLst/>
          </a:prstGeom>
        </p:spPr>
      </p:pic>
      <p:sp>
        <p:nvSpPr>
          <p:cNvPr id="21" name="Rectangle 20"/>
          <p:cNvSpPr>
            <a:spLocks noGrp="1" noChangeArrowheads="1"/>
          </p:cNvSpPr>
          <p:nvPr/>
        </p:nvSpPr>
        <p:spPr bwMode="gray">
          <a:xfrm>
            <a:off x="4155948" y="4690610"/>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436534">
              <a:defRPr/>
            </a:pPr>
            <a:fld id="{5909AF01-7EFE-4A29-B021-8BA707099C41}" type="slidenum">
              <a:rPr lang="en-US" sz="525">
                <a:solidFill>
                  <a:srgbClr val="716F73"/>
                </a:solidFill>
                <a:latin typeface="Arial"/>
              </a:rPr>
              <a:pPr defTabSz="436534">
                <a:defRPr/>
              </a:pPr>
              <a:t>‹#›</a:t>
            </a:fld>
            <a:endParaRPr lang="en-US" sz="525"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436534">
              <a:defRPr/>
            </a:pPr>
            <a:r>
              <a:rPr lang="en-US" sz="525" b="1" dirty="0">
                <a:solidFill>
                  <a:srgbClr val="716F73"/>
                </a:solidFill>
              </a:rPr>
              <a:t>Amgen Proprietary—For Internal Use Only</a:t>
            </a:r>
          </a:p>
        </p:txBody>
      </p:sp>
      <p:sp>
        <p:nvSpPr>
          <p:cNvPr id="2" name="Text Placeholder 1"/>
          <p:cNvSpPr>
            <a:spLocks noGrp="1"/>
          </p:cNvSpPr>
          <p:nvPr>
            <p:ph type="body" idx="1"/>
          </p:nvPr>
        </p:nvSpPr>
        <p:spPr>
          <a:xfrm>
            <a:off x="363538" y="1280161"/>
            <a:ext cx="8416782" cy="311447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41" y="540196"/>
            <a:ext cx="8416925" cy="392415"/>
          </a:xfrm>
          <a:prstGeom prst="rect">
            <a:avLst/>
          </a:prstGeom>
        </p:spPr>
        <p:txBody>
          <a:bodyPr vert="horz" lIns="91440" tIns="45720" rIns="91440" bIns="45720" rtlCol="0" anchor="b" anchorCtr="0">
            <a:spAutoFit/>
          </a:bodyPr>
          <a:lstStyle/>
          <a:p>
            <a:r>
              <a:rPr lang="en-US"/>
              <a:t>Click to edit Master title style</a:t>
            </a:r>
            <a:endParaRPr lang="en-US" dirty="0"/>
          </a:p>
        </p:txBody>
      </p:sp>
      <p:graphicFrame>
        <p:nvGraphicFramePr>
          <p:cNvPr id="8" name="Object 7" hidden="1"/>
          <p:cNvGraphicFramePr>
            <a:graphicFrameLocks noChangeAspect="1"/>
          </p:cNvGraphicFramePr>
          <p:nvPr>
            <p:custDataLst>
              <p:tags r:id="rId26"/>
            </p:custDataLst>
          </p:nvPr>
        </p:nvGraphicFramePr>
        <p:xfrm>
          <a:off x="1591" y="1192"/>
          <a:ext cx="1587" cy="1191"/>
        </p:xfrm>
        <a:graphic>
          <a:graphicData uri="http://schemas.openxmlformats.org/presentationml/2006/ole">
            <mc:AlternateContent xmlns:mc="http://schemas.openxmlformats.org/markup-compatibility/2006">
              <mc:Choice xmlns:v="urn:schemas-microsoft-com:vml" Requires="v">
                <p:oleObj spid="_x0000_s33883" name="think-cell Slide" r:id="rId28" imgW="270" imgH="270" progId="TCLayout.ActiveDocument.1">
                  <p:embed/>
                </p:oleObj>
              </mc:Choice>
              <mc:Fallback>
                <p:oleObj name="think-cell Slide" r:id="rId28" imgW="270" imgH="270" progId="TCLayout.ActiveDocument.1">
                  <p:embed/>
                  <p:pic>
                    <p:nvPicPr>
                      <p:cNvPr id="8" name="Object 7" hidden="1"/>
                      <p:cNvPicPr/>
                      <p:nvPr/>
                    </p:nvPicPr>
                    <p:blipFill>
                      <a:blip r:embed="rId29"/>
                      <a:stretch>
                        <a:fillRect/>
                      </a:stretch>
                    </p:blipFill>
                    <p:spPr>
                      <a:xfrm>
                        <a:off x="1591" y="1192"/>
                        <a:ext cx="1587" cy="1191"/>
                      </a:xfrm>
                      <a:prstGeom prst="rect">
                        <a:avLst/>
                      </a:prstGeom>
                    </p:spPr>
                  </p:pic>
                </p:oleObj>
              </mc:Fallback>
            </mc:AlternateContent>
          </a:graphicData>
        </a:graphic>
      </p:graphicFrame>
    </p:spTree>
    <p:extLst>
      <p:ext uri="{BB962C8B-B14F-4D97-AF65-F5344CB8AC3E}">
        <p14:creationId xmlns:p14="http://schemas.microsoft.com/office/powerpoint/2010/main" val="2440325919"/>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 id="2147484126" r:id="rId20"/>
    <p:sldLayoutId id="2147484127" r:id="rId21"/>
    <p:sldLayoutId id="2147484128" r:id="rId22"/>
    <p:sldLayoutId id="2147484129" r:id="rId23"/>
  </p:sldLayoutIdLst>
  <p:transition>
    <p:fade/>
  </p:transition>
  <p:txStyles>
    <p:titleStyle>
      <a:lvl1pPr algn="l" defTabSz="214280" rtl="0" eaLnBrk="1" latinLnBrk="0" hangingPunct="1">
        <a:lnSpc>
          <a:spcPct val="100000"/>
        </a:lnSpc>
        <a:spcBef>
          <a:spcPct val="0"/>
        </a:spcBef>
        <a:buNone/>
        <a:defRPr sz="1950" b="1" kern="1200" cap="all" spc="0" baseline="0">
          <a:solidFill>
            <a:schemeClr val="accent1"/>
          </a:solidFill>
          <a:latin typeface="Calibri" panose="020F0502020204030204" pitchFamily="34" charset="0"/>
          <a:ea typeface="+mj-ea"/>
          <a:cs typeface="+mj-cs"/>
        </a:defRPr>
      </a:lvl1pPr>
    </p:titleStyle>
    <p:bodyStyle>
      <a:lvl1pPr marL="173831" indent="-173831" algn="l" defTabSz="214280" rtl="0" eaLnBrk="1" latinLnBrk="0" hangingPunct="1">
        <a:lnSpc>
          <a:spcPct val="100000"/>
        </a:lnSpc>
        <a:spcBef>
          <a:spcPts val="450"/>
        </a:spcBef>
        <a:spcAft>
          <a:spcPts val="0"/>
        </a:spcAft>
        <a:buClr>
          <a:schemeClr val="accent1"/>
        </a:buClr>
        <a:buSzPct val="90000"/>
        <a:buFont typeface="Arial" panose="020B0604020202020204" pitchFamily="34" charset="0"/>
        <a:buChar char="•"/>
        <a:defRPr sz="1650" b="1" kern="1200" spc="0" baseline="0">
          <a:solidFill>
            <a:schemeClr val="tx1"/>
          </a:solidFill>
          <a:latin typeface="+mn-lt"/>
          <a:ea typeface="+mn-ea"/>
          <a:cs typeface="+mn-cs"/>
        </a:defRPr>
      </a:lvl1pPr>
      <a:lvl2pPr marL="342900" indent="-169069" algn="l" defTabSz="214280" rtl="0" eaLnBrk="1" latinLnBrk="0" hangingPunct="1">
        <a:lnSpc>
          <a:spcPct val="100000"/>
        </a:lnSpc>
        <a:spcBef>
          <a:spcPts val="300"/>
        </a:spcBef>
        <a:spcAft>
          <a:spcPts val="0"/>
        </a:spcAft>
        <a:buClr>
          <a:schemeClr val="accent1"/>
        </a:buClr>
        <a:buSzPct val="90000"/>
        <a:buFont typeface="Arial" panose="020B0604020202020204" pitchFamily="34" charset="0"/>
        <a:buChar char="–"/>
        <a:defRPr sz="1500" b="1" kern="1200" spc="0" baseline="0">
          <a:solidFill>
            <a:schemeClr val="tx1"/>
          </a:solidFill>
          <a:latin typeface="+mn-lt"/>
          <a:ea typeface="+mn-ea"/>
          <a:cs typeface="+mn-cs"/>
        </a:defRPr>
      </a:lvl2pPr>
      <a:lvl3pPr marL="516731" indent="-173831" algn="l" defTabSz="214280" rtl="0" eaLnBrk="1" latinLnBrk="0" hangingPunct="1">
        <a:lnSpc>
          <a:spcPct val="100000"/>
        </a:lnSpc>
        <a:spcBef>
          <a:spcPts val="300"/>
        </a:spcBef>
        <a:spcAft>
          <a:spcPts val="0"/>
        </a:spcAft>
        <a:buClr>
          <a:schemeClr val="accent1"/>
        </a:buClr>
        <a:buSzPct val="90000"/>
        <a:buFont typeface="Arial" panose="020B0604020202020204" pitchFamily="34" charset="0"/>
        <a:buChar char="•"/>
        <a:defRPr sz="1350" b="1" kern="1200" spc="0" baseline="0">
          <a:solidFill>
            <a:schemeClr val="tx1"/>
          </a:solidFill>
          <a:latin typeface="+mn-lt"/>
          <a:ea typeface="+mn-ea"/>
          <a:cs typeface="+mn-cs"/>
        </a:defRPr>
      </a:lvl3pPr>
      <a:lvl4pPr marL="685800" indent="-169069" algn="l" defTabSz="214280" rtl="0" eaLnBrk="1" latinLnBrk="0" hangingPunct="1">
        <a:lnSpc>
          <a:spcPct val="100000"/>
        </a:lnSpc>
        <a:spcBef>
          <a:spcPts val="225"/>
        </a:spcBef>
        <a:buClr>
          <a:schemeClr val="accent1"/>
        </a:buClr>
        <a:buSzPct val="90000"/>
        <a:buFont typeface="Arial" panose="020B0604020202020204" pitchFamily="34" charset="0"/>
        <a:buChar char="–"/>
        <a:defRPr sz="1200" b="1" kern="1200" baseline="0">
          <a:solidFill>
            <a:schemeClr val="tx1"/>
          </a:solidFill>
          <a:latin typeface="+mn-lt"/>
          <a:ea typeface="+mn-ea"/>
          <a:cs typeface="+mn-cs"/>
        </a:defRPr>
      </a:lvl4pPr>
      <a:lvl5pPr marL="813197" indent="-127397" algn="l" defTabSz="214280" rtl="0" eaLnBrk="1" latinLnBrk="0" hangingPunct="1">
        <a:lnSpc>
          <a:spcPct val="100000"/>
        </a:lnSpc>
        <a:spcBef>
          <a:spcPts val="225"/>
        </a:spcBef>
        <a:buClr>
          <a:schemeClr val="accent1"/>
        </a:buClr>
        <a:buSzPct val="90000"/>
        <a:buFont typeface="Arial" panose="020B0604020202020204" pitchFamily="34" charset="0"/>
        <a:buChar char="•"/>
        <a:defRPr sz="1050" b="1" kern="1200" baseline="0">
          <a:solidFill>
            <a:schemeClr val="tx1"/>
          </a:solidFill>
          <a:latin typeface="+mn-lt"/>
          <a:ea typeface="+mn-ea"/>
          <a:cs typeface="+mn-cs"/>
        </a:defRPr>
      </a:lvl5pPr>
      <a:lvl6pPr marL="535702" indent="0" algn="l" defTabSz="214280" rtl="0" eaLnBrk="1" latinLnBrk="0" hangingPunct="1">
        <a:lnSpc>
          <a:spcPct val="90000"/>
        </a:lnSpc>
        <a:spcBef>
          <a:spcPts val="117"/>
        </a:spcBef>
        <a:buFont typeface="Arial" panose="020B0604020202020204" pitchFamily="34" charset="0"/>
        <a:buNone/>
        <a:defRPr sz="422" kern="1200">
          <a:solidFill>
            <a:schemeClr val="tx1"/>
          </a:solidFill>
          <a:latin typeface="+mn-lt"/>
          <a:ea typeface="+mn-ea"/>
          <a:cs typeface="+mn-cs"/>
        </a:defRPr>
      </a:lvl6pPr>
      <a:lvl7pPr marL="696412"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7pPr>
      <a:lvl8pPr marL="803552"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8pPr>
      <a:lvl9pPr marL="910693"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9pPr>
    </p:bodyStyle>
    <p:otherStyle>
      <a:defPPr>
        <a:defRPr lang="en-US"/>
      </a:defPPr>
      <a:lvl1pPr marL="0" algn="l" defTabSz="214280" rtl="0" eaLnBrk="1" latinLnBrk="0" hangingPunct="1">
        <a:defRPr sz="422" kern="1200">
          <a:solidFill>
            <a:schemeClr val="tx1"/>
          </a:solidFill>
          <a:latin typeface="+mn-lt"/>
          <a:ea typeface="+mn-ea"/>
          <a:cs typeface="+mn-cs"/>
        </a:defRPr>
      </a:lvl1pPr>
      <a:lvl2pPr marL="107141" algn="l" defTabSz="214280" rtl="0" eaLnBrk="1" latinLnBrk="0" hangingPunct="1">
        <a:defRPr sz="422" kern="1200">
          <a:solidFill>
            <a:schemeClr val="tx1"/>
          </a:solidFill>
          <a:latin typeface="+mn-lt"/>
          <a:ea typeface="+mn-ea"/>
          <a:cs typeface="+mn-cs"/>
        </a:defRPr>
      </a:lvl2pPr>
      <a:lvl3pPr marL="214280" algn="l" defTabSz="214280" rtl="0" eaLnBrk="1" latinLnBrk="0" hangingPunct="1">
        <a:defRPr sz="422" kern="1200">
          <a:solidFill>
            <a:schemeClr val="tx1"/>
          </a:solidFill>
          <a:latin typeface="+mn-lt"/>
          <a:ea typeface="+mn-ea"/>
          <a:cs typeface="+mn-cs"/>
        </a:defRPr>
      </a:lvl3pPr>
      <a:lvl4pPr marL="321421" algn="l" defTabSz="214280" rtl="0" eaLnBrk="1" latinLnBrk="0" hangingPunct="1">
        <a:defRPr sz="422" kern="1200">
          <a:solidFill>
            <a:schemeClr val="tx1"/>
          </a:solidFill>
          <a:latin typeface="+mn-lt"/>
          <a:ea typeface="+mn-ea"/>
          <a:cs typeface="+mn-cs"/>
        </a:defRPr>
      </a:lvl4pPr>
      <a:lvl5pPr marL="428561" algn="l" defTabSz="214280" rtl="0" eaLnBrk="1" latinLnBrk="0" hangingPunct="1">
        <a:defRPr sz="422" kern="1200">
          <a:solidFill>
            <a:schemeClr val="tx1"/>
          </a:solidFill>
          <a:latin typeface="+mn-lt"/>
          <a:ea typeface="+mn-ea"/>
          <a:cs typeface="+mn-cs"/>
        </a:defRPr>
      </a:lvl5pPr>
      <a:lvl6pPr marL="535702" algn="l" defTabSz="214280" rtl="0" eaLnBrk="1" latinLnBrk="0" hangingPunct="1">
        <a:defRPr sz="422" kern="1200">
          <a:solidFill>
            <a:schemeClr val="tx1"/>
          </a:solidFill>
          <a:latin typeface="+mn-lt"/>
          <a:ea typeface="+mn-ea"/>
          <a:cs typeface="+mn-cs"/>
        </a:defRPr>
      </a:lvl6pPr>
      <a:lvl7pPr marL="642842" algn="l" defTabSz="214280" rtl="0" eaLnBrk="1" latinLnBrk="0" hangingPunct="1">
        <a:defRPr sz="422" kern="1200">
          <a:solidFill>
            <a:schemeClr val="tx1"/>
          </a:solidFill>
          <a:latin typeface="+mn-lt"/>
          <a:ea typeface="+mn-ea"/>
          <a:cs typeface="+mn-cs"/>
        </a:defRPr>
      </a:lvl7pPr>
      <a:lvl8pPr marL="749982" algn="l" defTabSz="214280" rtl="0" eaLnBrk="1" latinLnBrk="0" hangingPunct="1">
        <a:defRPr sz="422" kern="1200">
          <a:solidFill>
            <a:schemeClr val="tx1"/>
          </a:solidFill>
          <a:latin typeface="+mn-lt"/>
          <a:ea typeface="+mn-ea"/>
          <a:cs typeface="+mn-cs"/>
        </a:defRPr>
      </a:lvl8pPr>
      <a:lvl9pPr marL="857123" algn="l" defTabSz="214280" rtl="0" eaLnBrk="1" latinLnBrk="0" hangingPunct="1">
        <a:defRPr sz="422"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7997764" y="4758500"/>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a:solidFill>
                <a:srgbClr val="716F73"/>
              </a:solidFill>
              <a:latin typeface="Arial"/>
            </a:endParaRPr>
          </a:p>
        </p:txBody>
      </p:sp>
      <p:sp>
        <p:nvSpPr>
          <p:cNvPr id="3" name="TextBox 2"/>
          <p:cNvSpPr txBox="1"/>
          <p:nvPr/>
        </p:nvSpPr>
        <p:spPr>
          <a:xfrm>
            <a:off x="4838178" y="4688860"/>
            <a:ext cx="3033694" cy="275592"/>
          </a:xfrm>
          <a:prstGeom prst="rect">
            <a:avLst/>
          </a:prstGeom>
          <a:noFill/>
        </p:spPr>
        <p:txBody>
          <a:bodyPr wrap="square" lIns="0" tIns="0" rIns="0" bIns="0" rtlCol="0" anchor="b">
            <a:noAutofit/>
          </a:bodyPr>
          <a:lstStyle/>
          <a:p>
            <a:pPr marL="0" marR="0" lvl="0" indent="0" algn="r" defTabSz="582031"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716F73"/>
                </a:solidFill>
                <a:effectLst/>
                <a:uLnTx/>
                <a:uFillTx/>
                <a:latin typeface="+mn-lt"/>
                <a:ea typeface="+mn-ea"/>
                <a:cs typeface="+mn-cs"/>
              </a:rPr>
              <a:t>Amgen Proprietary—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p>
        </p:txBody>
      </p:sp>
    </p:spTree>
    <p:extLst>
      <p:ext uri="{BB962C8B-B14F-4D97-AF65-F5344CB8AC3E}">
        <p14:creationId xmlns:p14="http://schemas.microsoft.com/office/powerpoint/2010/main" val="1888198611"/>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 id="2147484147" r:id="rId16"/>
    <p:sldLayoutId id="2147484148" r:id="rId17"/>
    <p:sldLayoutId id="2147484149" r:id="rId18"/>
    <p:sldLayoutId id="2147484150" r:id="rId19"/>
    <p:sldLayoutId id="2147484151" r:id="rId20"/>
    <p:sldLayoutId id="2147484152" r:id="rId21"/>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3"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997763" y="4758499"/>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45">
              <a:defRPr/>
            </a:pPr>
            <a:fld id="{5909AF01-7EFE-4A29-B021-8BA707099C41}" type="slidenum">
              <a:rPr lang="en-US" sz="700">
                <a:solidFill>
                  <a:srgbClr val="716F73"/>
                </a:solidFill>
                <a:latin typeface="Arial"/>
              </a:rPr>
              <a:pPr defTabSz="582045">
                <a:defRPr/>
              </a:pPr>
              <a:t>‹#›</a:t>
            </a:fld>
            <a:endParaRPr lang="en-US" sz="700"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45">
              <a:defRPr/>
            </a:pPr>
            <a:r>
              <a:rPr lang="en-US" sz="700" b="1" dirty="0">
                <a:solidFill>
                  <a:srgbClr val="716F73"/>
                </a:solidFill>
              </a:rPr>
              <a:t>Amgen Proprietary—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143868552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4907" name="think-cell Slide" r:id="rId29" imgW="530" imgH="531" progId="TCLayout.ActiveDocument.1">
                  <p:embed/>
                </p:oleObj>
              </mc:Choice>
              <mc:Fallback>
                <p:oleObj name="think-cell Slide" r:id="rId29" imgW="530" imgH="531" progId="TCLayout.ActiveDocument.1">
                  <p:embed/>
                  <p:pic>
                    <p:nvPicPr>
                      <p:cNvPr id="4" name="Object 3" hidden="1"/>
                      <p:cNvPicPr/>
                      <p:nvPr/>
                    </p:nvPicPr>
                    <p:blipFill>
                      <a:blip r:embed="rId30"/>
                      <a:stretch>
                        <a:fillRect/>
                      </a:stretch>
                    </p:blipFill>
                    <p:spPr>
                      <a:xfrm>
                        <a:off x="1192" y="1192"/>
                        <a:ext cx="1190" cy="1190"/>
                      </a:xfrm>
                      <a:prstGeom prst="rect">
                        <a:avLst/>
                      </a:prstGeom>
                    </p:spPr>
                  </p:pic>
                </p:oleObj>
              </mc:Fallback>
            </mc:AlternateContent>
          </a:graphicData>
        </a:graphic>
      </p:graphicFrame>
      <p:pic>
        <p:nvPicPr>
          <p:cNvPr id="20" name="Picture 19"/>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7997764" y="4758500"/>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31">
              <a:defRPr/>
            </a:pPr>
            <a:r>
              <a:rPr lang="en-US" sz="700" b="1">
                <a:solidFill>
                  <a:srgbClr val="716F73"/>
                </a:solidFill>
              </a:rPr>
              <a:t>Amgen Proprietary—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p>
        </p:txBody>
      </p:sp>
    </p:spTree>
    <p:extLst>
      <p:ext uri="{BB962C8B-B14F-4D97-AF65-F5344CB8AC3E}">
        <p14:creationId xmlns:p14="http://schemas.microsoft.com/office/powerpoint/2010/main" val="1702672097"/>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179" r:id="rId25"/>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027"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1589" y="1589"/>
                        <a:ext cx="1587" cy="1587"/>
                      </a:xfrm>
                      <a:prstGeom prst="rect">
                        <a:avLst/>
                      </a:prstGeom>
                    </p:spPr>
                  </p:pic>
                </p:oleObj>
              </mc:Fallback>
            </mc:AlternateContent>
          </a:graphicData>
        </a:graphic>
      </p:graphicFrame>
      <p:pic>
        <p:nvPicPr>
          <p:cNvPr id="20" name="Picture 1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997764" y="4758500"/>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marL="0" marR="0" lvl="0" indent="0" algn="ctr" defTabSz="582031" rtl="0" eaLnBrk="1" fontAlgn="base" latinLnBrk="0" hangingPunct="1">
              <a:lnSpc>
                <a:spcPct val="100000"/>
              </a:lnSpc>
              <a:spcBef>
                <a:spcPct val="0"/>
              </a:spcBef>
              <a:spcAft>
                <a:spcPct val="0"/>
              </a:spcAft>
              <a:buClrTx/>
              <a:buSzTx/>
              <a:buFontTx/>
              <a:buNone/>
              <a:tabLst/>
              <a:defRPr/>
            </a:pPr>
            <a:fld id="{5909AF01-7EFE-4A29-B021-8BA707099C41}" type="slidenum">
              <a:rPr kumimoji="0" lang="en-US" sz="700" b="1" i="0" u="none" strike="noStrike" kern="1200" cap="none" spc="0" normalizeH="0" baseline="0" noProof="0">
                <a:ln>
                  <a:noFill/>
                </a:ln>
                <a:solidFill>
                  <a:srgbClr val="716F73"/>
                </a:solidFill>
                <a:effectLst/>
                <a:uLnTx/>
                <a:uFillTx/>
                <a:latin typeface="Arial"/>
                <a:ea typeface="+mn-ea"/>
                <a:cs typeface="+mn-cs"/>
              </a:rPr>
              <a:pPr marL="0" marR="0" lvl="0" indent="0" algn="ctr" defTabSz="582031" rtl="0" eaLnBrk="1" fontAlgn="base" latinLnBrk="0" hangingPunct="1">
                <a:lnSpc>
                  <a:spcPct val="100000"/>
                </a:lnSpc>
                <a:spcBef>
                  <a:spcPct val="0"/>
                </a:spcBef>
                <a:spcAft>
                  <a:spcPct val="0"/>
                </a:spcAft>
                <a:buClrTx/>
                <a:buSzTx/>
                <a:buFontTx/>
                <a:buNone/>
                <a:tabLst/>
                <a:defRPr/>
              </a:pPr>
              <a:t>‹#›</a:t>
            </a:fld>
            <a:endParaRPr kumimoji="0" lang="en-US" sz="700" b="1" i="0" u="none" strike="noStrike" kern="1200" cap="none" spc="0" normalizeH="0" baseline="0" noProof="0" dirty="0">
              <a:ln>
                <a:noFill/>
              </a:ln>
              <a:solidFill>
                <a:srgbClr val="716F73"/>
              </a:solidFill>
              <a:effectLst/>
              <a:uLnTx/>
              <a:uFillTx/>
              <a:latin typeface="Arial"/>
              <a:ea typeface="+mn-ea"/>
              <a:cs typeface="+mn-cs"/>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marL="0" marR="0" lvl="0" indent="0" algn="r" defTabSz="582031"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716F73"/>
                </a:solidFill>
                <a:effectLst/>
                <a:uLnTx/>
                <a:uFillTx/>
                <a:latin typeface="Arial"/>
                <a:ea typeface="+mn-ea"/>
                <a:cs typeface="+mn-cs"/>
              </a:rPr>
              <a:t>Amgen Proprietary—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3136890409"/>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3"/>
            </p:custDataLst>
            <p:extLst>
              <p:ext uri="{D42A27DB-BD31-4B8C-83A1-F6EECF244321}">
                <p14:modId xmlns:p14="http://schemas.microsoft.com/office/powerpoint/2010/main" val="90595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7"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997764" y="4755287"/>
            <a:ext cx="817857" cy="200375"/>
          </a:xfrm>
          <a:prstGeom prst="rect">
            <a:avLst/>
          </a:prstGeom>
        </p:spPr>
      </p:pic>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31">
              <a:defRPr/>
            </a:pPr>
            <a:r>
              <a:rPr lang="en-US" sz="700" b="1" dirty="0">
                <a:solidFill>
                  <a:srgbClr val="716F73"/>
                </a:solidFill>
              </a:rPr>
              <a:t>Amgen Proprietary—For 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6" name="Rectangle 5"/>
          <p:cNvSpPr>
            <a:spLocks noGrp="1" noChangeArrowheads="1"/>
          </p:cNvSpPr>
          <p:nvPr userDrawn="1"/>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dirty="0">
              <a:solidFill>
                <a:srgbClr val="716F73"/>
              </a:solidFill>
              <a:latin typeface="Arial"/>
            </a:endParaRPr>
          </a:p>
        </p:txBody>
      </p:sp>
    </p:spTree>
    <p:extLst>
      <p:ext uri="{BB962C8B-B14F-4D97-AF65-F5344CB8AC3E}">
        <p14:creationId xmlns:p14="http://schemas.microsoft.com/office/powerpoint/2010/main" val="852522300"/>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9"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997767" y="4758499"/>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1913">
              <a:defRPr/>
            </a:pPr>
            <a:fld id="{5909AF01-7EFE-4A29-B021-8BA707099C41}" type="slidenum">
              <a:rPr lang="en-US" sz="700">
                <a:solidFill>
                  <a:srgbClr val="716F73"/>
                </a:solidFill>
                <a:latin typeface="Arial"/>
              </a:rPr>
              <a:pPr defTabSz="581913">
                <a:defRPr/>
              </a:pPr>
              <a:t>‹#›</a:t>
            </a:fld>
            <a:endParaRPr lang="en-US" sz="700" dirty="0">
              <a:solidFill>
                <a:srgbClr val="716F73"/>
              </a:solidFill>
              <a:latin typeface="Arial"/>
            </a:endParaRPr>
          </a:p>
        </p:txBody>
      </p:sp>
      <p:sp>
        <p:nvSpPr>
          <p:cNvPr id="3" name="TextBox 2"/>
          <p:cNvSpPr txBox="1"/>
          <p:nvPr/>
        </p:nvSpPr>
        <p:spPr>
          <a:xfrm>
            <a:off x="5560934" y="4688860"/>
            <a:ext cx="2310938" cy="275592"/>
          </a:xfrm>
          <a:prstGeom prst="rect">
            <a:avLst/>
          </a:prstGeom>
          <a:noFill/>
        </p:spPr>
        <p:txBody>
          <a:bodyPr wrap="square" lIns="0" tIns="0" rIns="0" bIns="0" rtlCol="0" anchor="b">
            <a:noAutofit/>
          </a:bodyPr>
          <a:lstStyle/>
          <a:p>
            <a:pPr algn="r" defTabSz="581913">
              <a:defRPr/>
            </a:pPr>
            <a:r>
              <a:rPr lang="en-US" sz="700" b="1" dirty="0">
                <a:solidFill>
                  <a:srgbClr val="716F73"/>
                </a:solidFill>
              </a:rPr>
              <a:t>Amgen Proprietary—Internal Use Only</a:t>
            </a:r>
          </a:p>
        </p:txBody>
      </p:sp>
      <p:sp>
        <p:nvSpPr>
          <p:cNvPr id="2" name="Text Placeholder 1"/>
          <p:cNvSpPr>
            <a:spLocks noGrp="1"/>
          </p:cNvSpPr>
          <p:nvPr>
            <p:ph type="body" idx="1"/>
          </p:nvPr>
        </p:nvSpPr>
        <p:spPr>
          <a:xfrm>
            <a:off x="363539" y="1280164"/>
            <a:ext cx="8416782" cy="3114475"/>
          </a:xfrm>
          <a:prstGeom prst="rect">
            <a:avLst/>
          </a:prstGeom>
        </p:spPr>
        <p:txBody>
          <a:bodyPr vert="horz" lIns="91420" tIns="45710" rIns="91420" bIns="4571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41" y="440186"/>
            <a:ext cx="8416925" cy="492422"/>
          </a:xfrm>
          <a:prstGeom prst="rect">
            <a:avLst/>
          </a:prstGeom>
        </p:spPr>
        <p:txBody>
          <a:bodyPr vert="horz" lIns="91420" tIns="45710" rIns="91420" bIns="4571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3501261735"/>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Lst>
  <p:transition>
    <p:fade/>
  </p:transition>
  <p:hf hdr="0"/>
  <p:txStyles>
    <p:titleStyle>
      <a:lvl1pPr algn="l" defTabSz="285643"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23" indent="-231723" algn="l" defTabSz="285643"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097" indent="-225374" algn="l" defTabSz="285643"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819" indent="-231723" algn="l" defTabSz="285643"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195" indent="-225374" algn="l" defTabSz="285643"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019" indent="-169823" algn="l" defTabSz="285643"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109" indent="0" algn="l" defTabSz="285643" rtl="0" eaLnBrk="1" latinLnBrk="0" hangingPunct="1">
        <a:lnSpc>
          <a:spcPct val="90000"/>
        </a:lnSpc>
        <a:spcBef>
          <a:spcPts val="156"/>
        </a:spcBef>
        <a:buFont typeface="Arial" panose="020B0604020202020204" pitchFamily="34" charset="0"/>
        <a:buNone/>
        <a:defRPr sz="600" kern="1200">
          <a:solidFill>
            <a:schemeClr val="tx1"/>
          </a:solidFill>
          <a:latin typeface="+mn-lt"/>
          <a:ea typeface="+mn-ea"/>
          <a:cs typeface="+mn-cs"/>
        </a:defRPr>
      </a:lvl6pPr>
      <a:lvl7pPr marL="928340" indent="-71411" algn="l" defTabSz="285643" rtl="0" eaLnBrk="1" latinLnBrk="0" hangingPunct="1">
        <a:lnSpc>
          <a:spcPct val="90000"/>
        </a:lnSpc>
        <a:spcBef>
          <a:spcPts val="156"/>
        </a:spcBef>
        <a:buFont typeface="Arial" panose="020B0604020202020204" pitchFamily="34" charset="0"/>
        <a:buChar char="•"/>
        <a:defRPr sz="600" kern="1200">
          <a:solidFill>
            <a:schemeClr val="tx1"/>
          </a:solidFill>
          <a:latin typeface="+mn-lt"/>
          <a:ea typeface="+mn-ea"/>
          <a:cs typeface="+mn-cs"/>
        </a:defRPr>
      </a:lvl7pPr>
      <a:lvl8pPr marL="1071162" indent="-71411" algn="l" defTabSz="285643" rtl="0" eaLnBrk="1" latinLnBrk="0" hangingPunct="1">
        <a:lnSpc>
          <a:spcPct val="90000"/>
        </a:lnSpc>
        <a:spcBef>
          <a:spcPts val="156"/>
        </a:spcBef>
        <a:buFont typeface="Arial" panose="020B0604020202020204" pitchFamily="34" charset="0"/>
        <a:buChar char="•"/>
        <a:defRPr sz="600" kern="1200">
          <a:solidFill>
            <a:schemeClr val="tx1"/>
          </a:solidFill>
          <a:latin typeface="+mn-lt"/>
          <a:ea typeface="+mn-ea"/>
          <a:cs typeface="+mn-cs"/>
        </a:defRPr>
      </a:lvl8pPr>
      <a:lvl9pPr marL="1213984" indent="-71411" algn="l" defTabSz="285643" rtl="0" eaLnBrk="1" latinLnBrk="0" hangingPunct="1">
        <a:lnSpc>
          <a:spcPct val="90000"/>
        </a:lnSpc>
        <a:spcBef>
          <a:spcPts val="156"/>
        </a:spcBef>
        <a:buFont typeface="Arial" panose="020B0604020202020204" pitchFamily="34" charset="0"/>
        <a:buChar char="•"/>
        <a:defRPr sz="600" kern="1200">
          <a:solidFill>
            <a:schemeClr val="tx1"/>
          </a:solidFill>
          <a:latin typeface="+mn-lt"/>
          <a:ea typeface="+mn-ea"/>
          <a:cs typeface="+mn-cs"/>
        </a:defRPr>
      </a:lvl9pPr>
    </p:bodyStyle>
    <p:otherStyle>
      <a:defPPr>
        <a:defRPr lang="en-US"/>
      </a:defPPr>
      <a:lvl1pPr marL="0" algn="l" defTabSz="285643" rtl="0" eaLnBrk="1" latinLnBrk="0" hangingPunct="1">
        <a:defRPr sz="600" kern="1200">
          <a:solidFill>
            <a:schemeClr val="tx1"/>
          </a:solidFill>
          <a:latin typeface="+mn-lt"/>
          <a:ea typeface="+mn-ea"/>
          <a:cs typeface="+mn-cs"/>
        </a:defRPr>
      </a:lvl1pPr>
      <a:lvl2pPr marL="142822" algn="l" defTabSz="285643" rtl="0" eaLnBrk="1" latinLnBrk="0" hangingPunct="1">
        <a:defRPr sz="600" kern="1200">
          <a:solidFill>
            <a:schemeClr val="tx1"/>
          </a:solidFill>
          <a:latin typeface="+mn-lt"/>
          <a:ea typeface="+mn-ea"/>
          <a:cs typeface="+mn-cs"/>
        </a:defRPr>
      </a:lvl2pPr>
      <a:lvl3pPr marL="285643" algn="l" defTabSz="285643" rtl="0" eaLnBrk="1" latinLnBrk="0" hangingPunct="1">
        <a:defRPr sz="600" kern="1200">
          <a:solidFill>
            <a:schemeClr val="tx1"/>
          </a:solidFill>
          <a:latin typeface="+mn-lt"/>
          <a:ea typeface="+mn-ea"/>
          <a:cs typeface="+mn-cs"/>
        </a:defRPr>
      </a:lvl3pPr>
      <a:lvl4pPr marL="428465" algn="l" defTabSz="285643" rtl="0" eaLnBrk="1" latinLnBrk="0" hangingPunct="1">
        <a:defRPr sz="600" kern="1200">
          <a:solidFill>
            <a:schemeClr val="tx1"/>
          </a:solidFill>
          <a:latin typeface="+mn-lt"/>
          <a:ea typeface="+mn-ea"/>
          <a:cs typeface="+mn-cs"/>
        </a:defRPr>
      </a:lvl4pPr>
      <a:lvl5pPr marL="571287" algn="l" defTabSz="285643" rtl="0" eaLnBrk="1" latinLnBrk="0" hangingPunct="1">
        <a:defRPr sz="600" kern="1200">
          <a:solidFill>
            <a:schemeClr val="tx1"/>
          </a:solidFill>
          <a:latin typeface="+mn-lt"/>
          <a:ea typeface="+mn-ea"/>
          <a:cs typeface="+mn-cs"/>
        </a:defRPr>
      </a:lvl5pPr>
      <a:lvl6pPr marL="714109" algn="l" defTabSz="285643" rtl="0" eaLnBrk="1" latinLnBrk="0" hangingPunct="1">
        <a:defRPr sz="600" kern="1200">
          <a:solidFill>
            <a:schemeClr val="tx1"/>
          </a:solidFill>
          <a:latin typeface="+mn-lt"/>
          <a:ea typeface="+mn-ea"/>
          <a:cs typeface="+mn-cs"/>
        </a:defRPr>
      </a:lvl6pPr>
      <a:lvl7pPr marL="856930" algn="l" defTabSz="285643" rtl="0" eaLnBrk="1" latinLnBrk="0" hangingPunct="1">
        <a:defRPr sz="600" kern="1200">
          <a:solidFill>
            <a:schemeClr val="tx1"/>
          </a:solidFill>
          <a:latin typeface="+mn-lt"/>
          <a:ea typeface="+mn-ea"/>
          <a:cs typeface="+mn-cs"/>
        </a:defRPr>
      </a:lvl7pPr>
      <a:lvl8pPr marL="999752" algn="l" defTabSz="285643" rtl="0" eaLnBrk="1" latinLnBrk="0" hangingPunct="1">
        <a:defRPr sz="600" kern="1200">
          <a:solidFill>
            <a:schemeClr val="tx1"/>
          </a:solidFill>
          <a:latin typeface="+mn-lt"/>
          <a:ea typeface="+mn-ea"/>
          <a:cs typeface="+mn-cs"/>
        </a:defRPr>
      </a:lvl8pPr>
      <a:lvl9pPr marL="1142574" algn="l" defTabSz="285643" rtl="0" eaLnBrk="1" latinLnBrk="0" hangingPunct="1">
        <a:defRPr sz="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3"/>
            </p:custDataLst>
            <p:extLst>
              <p:ext uri="{D42A27DB-BD31-4B8C-83A1-F6EECF244321}">
                <p14:modId xmlns:p14="http://schemas.microsoft.com/office/powerpoint/2010/main" val="4287272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1"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997763" y="4755286"/>
            <a:ext cx="817857" cy="200375"/>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45">
              <a:defRPr/>
            </a:pPr>
            <a:fld id="{5909AF01-7EFE-4A29-B021-8BA707099C41}" type="slidenum">
              <a:rPr lang="en-US" sz="700">
                <a:solidFill>
                  <a:srgbClr val="716F73"/>
                </a:solidFill>
                <a:latin typeface="Arial"/>
              </a:rPr>
              <a:pPr defTabSz="582045">
                <a:defRPr/>
              </a:pPr>
              <a:t>‹#›</a:t>
            </a:fld>
            <a:endParaRPr lang="en-US" sz="700"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45">
              <a:defRPr/>
            </a:pPr>
            <a:r>
              <a:rPr lang="en-US" sz="700" b="1" dirty="0">
                <a:solidFill>
                  <a:srgbClr val="716F73"/>
                </a:solidFill>
              </a:rPr>
              <a:t>Amgen Proprietary—For Internal Use Only</a:t>
            </a: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3935123641"/>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03" name="think-cell Slide" r:id="rId25" imgW="270" imgH="270" progId="TCLayout.ActiveDocument.1">
                  <p:embed/>
                </p:oleObj>
              </mc:Choice>
              <mc:Fallback>
                <p:oleObj name="think-cell Slide" r:id="rId25" imgW="270" imgH="270" progId="TCLayout.ActiveDocument.1">
                  <p:embed/>
                  <p:pic>
                    <p:nvPicPr>
                      <p:cNvPr id="3" name="Object 2" hidden="1"/>
                      <p:cNvPicPr/>
                      <p:nvPr/>
                    </p:nvPicPr>
                    <p:blipFill>
                      <a:blip r:embed="rId26"/>
                      <a:stretch>
                        <a:fillRect/>
                      </a:stretch>
                    </p:blipFill>
                    <p:spPr>
                      <a:xfrm>
                        <a:off x="1588" y="1588"/>
                        <a:ext cx="1587" cy="1587"/>
                      </a:xfrm>
                      <a:prstGeom prst="rect">
                        <a:avLst/>
                      </a:prstGeom>
                    </p:spPr>
                  </p:pic>
                </p:oleObj>
              </mc:Fallback>
            </mc:AlternateContent>
          </a:graphicData>
        </a:graphic>
      </p:graphicFrame>
      <p:pic>
        <p:nvPicPr>
          <p:cNvPr id="20" name="Picture 1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997763" y="4758499"/>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45">
              <a:defRPr/>
            </a:pPr>
            <a:fld id="{5909AF01-7EFE-4A29-B021-8BA707099C41}" type="slidenum">
              <a:rPr lang="en-US" sz="700">
                <a:solidFill>
                  <a:srgbClr val="716F73"/>
                </a:solidFill>
                <a:latin typeface="Arial"/>
              </a:rPr>
              <a:pPr defTabSz="582045">
                <a:defRPr/>
              </a:pPr>
              <a:t>‹#›</a:t>
            </a:fld>
            <a:endParaRPr lang="en-US" sz="700" dirty="0">
              <a:solidFill>
                <a:srgbClr val="716F73"/>
              </a:solidFill>
              <a:latin typeface="Arial"/>
            </a:endParaRPr>
          </a:p>
        </p:txBody>
      </p:sp>
      <p:sp>
        <p:nvSpPr>
          <p:cNvPr id="2" name="Text Placeholder 1"/>
          <p:cNvSpPr>
            <a:spLocks noGrp="1"/>
          </p:cNvSpPr>
          <p:nvPr>
            <p:ph type="body" idx="1"/>
          </p:nvPr>
        </p:nvSpPr>
        <p:spPr>
          <a:xfrm>
            <a:off x="363538" y="1280160"/>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7" y="440164"/>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265956986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Lst>
  <p:transition>
    <p:fade/>
  </p:transition>
  <p:hf hdr="0"/>
  <p:txStyles>
    <p:titleStyle>
      <a:lvl1pPr algn="l" defTabSz="285707"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5" indent="-231775" algn="l" defTabSz="285707"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200" indent="-22542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75" indent="-231775" algn="l" defTabSz="285707"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400" indent="-225425" algn="l" defTabSz="285707"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63" indent="-169863" algn="l" defTabSz="285707"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69" indent="0" algn="l" defTabSz="285707"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49"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403"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57" indent="-71427" algn="l" defTabSz="285707"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7" rtl="0" eaLnBrk="1" latinLnBrk="0" hangingPunct="1">
        <a:defRPr sz="563" kern="1200">
          <a:solidFill>
            <a:schemeClr val="tx1"/>
          </a:solidFill>
          <a:latin typeface="+mn-lt"/>
          <a:ea typeface="+mn-ea"/>
          <a:cs typeface="+mn-cs"/>
        </a:defRPr>
      </a:lvl1pPr>
      <a:lvl2pPr marL="142854" algn="l" defTabSz="285707" rtl="0" eaLnBrk="1" latinLnBrk="0" hangingPunct="1">
        <a:defRPr sz="563" kern="1200">
          <a:solidFill>
            <a:schemeClr val="tx1"/>
          </a:solidFill>
          <a:latin typeface="+mn-lt"/>
          <a:ea typeface="+mn-ea"/>
          <a:cs typeface="+mn-cs"/>
        </a:defRPr>
      </a:lvl2pPr>
      <a:lvl3pPr marL="285707" algn="l" defTabSz="285707" rtl="0" eaLnBrk="1" latinLnBrk="0" hangingPunct="1">
        <a:defRPr sz="563" kern="1200">
          <a:solidFill>
            <a:schemeClr val="tx1"/>
          </a:solidFill>
          <a:latin typeface="+mn-lt"/>
          <a:ea typeface="+mn-ea"/>
          <a:cs typeface="+mn-cs"/>
        </a:defRPr>
      </a:lvl3pPr>
      <a:lvl4pPr marL="428561" algn="l" defTabSz="285707" rtl="0" eaLnBrk="1" latinLnBrk="0" hangingPunct="1">
        <a:defRPr sz="563" kern="1200">
          <a:solidFill>
            <a:schemeClr val="tx1"/>
          </a:solidFill>
          <a:latin typeface="+mn-lt"/>
          <a:ea typeface="+mn-ea"/>
          <a:cs typeface="+mn-cs"/>
        </a:defRPr>
      </a:lvl4pPr>
      <a:lvl5pPr marL="571415" algn="l" defTabSz="285707" rtl="0" eaLnBrk="1" latinLnBrk="0" hangingPunct="1">
        <a:defRPr sz="563" kern="1200">
          <a:solidFill>
            <a:schemeClr val="tx1"/>
          </a:solidFill>
          <a:latin typeface="+mn-lt"/>
          <a:ea typeface="+mn-ea"/>
          <a:cs typeface="+mn-cs"/>
        </a:defRPr>
      </a:lvl5pPr>
      <a:lvl6pPr marL="714269" algn="l" defTabSz="285707" rtl="0" eaLnBrk="1" latinLnBrk="0" hangingPunct="1">
        <a:defRPr sz="563" kern="1200">
          <a:solidFill>
            <a:schemeClr val="tx1"/>
          </a:solidFill>
          <a:latin typeface="+mn-lt"/>
          <a:ea typeface="+mn-ea"/>
          <a:cs typeface="+mn-cs"/>
        </a:defRPr>
      </a:lvl6pPr>
      <a:lvl7pPr marL="857122" algn="l" defTabSz="285707" rtl="0" eaLnBrk="1" latinLnBrk="0" hangingPunct="1">
        <a:defRPr sz="563" kern="1200">
          <a:solidFill>
            <a:schemeClr val="tx1"/>
          </a:solidFill>
          <a:latin typeface="+mn-lt"/>
          <a:ea typeface="+mn-ea"/>
          <a:cs typeface="+mn-cs"/>
        </a:defRPr>
      </a:lvl7pPr>
      <a:lvl8pPr marL="999976" algn="l" defTabSz="285707" rtl="0" eaLnBrk="1" latinLnBrk="0" hangingPunct="1">
        <a:defRPr sz="563" kern="1200">
          <a:solidFill>
            <a:schemeClr val="tx1"/>
          </a:solidFill>
          <a:latin typeface="+mn-lt"/>
          <a:ea typeface="+mn-ea"/>
          <a:cs typeface="+mn-cs"/>
        </a:defRPr>
      </a:lvl8pPr>
      <a:lvl9pPr marL="1142830" algn="l" defTabSz="285707" rtl="0" eaLnBrk="1" latinLnBrk="0" hangingPunct="1">
        <a:defRPr sz="56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2"/>
            </p:custDataLst>
            <p:extLst>
              <p:ext uri="{D42A27DB-BD31-4B8C-83A1-F6EECF244321}">
                <p14:modId xmlns:p14="http://schemas.microsoft.com/office/powerpoint/2010/main" val="74243703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451"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1589" y="1589"/>
                        <a:ext cx="1587" cy="1587"/>
                      </a:xfrm>
                      <a:prstGeom prst="rect">
                        <a:avLst/>
                      </a:prstGeom>
                    </p:spPr>
                  </p:pic>
                </p:oleObj>
              </mc:Fallback>
            </mc:AlternateContent>
          </a:graphicData>
        </a:graphic>
      </p:graphicFrame>
      <p:pic>
        <p:nvPicPr>
          <p:cNvPr id="20" name="Picture 1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997764" y="4758500"/>
            <a:ext cx="817857" cy="193948"/>
          </a:xfrm>
          <a:prstGeom prst="rect">
            <a:avLst/>
          </a:prstGeom>
        </p:spPr>
      </p:pic>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582031">
              <a:defRPr/>
            </a:pPr>
            <a:r>
              <a:rPr lang="en-US" sz="700" b="1" dirty="0">
                <a:solidFill>
                  <a:srgbClr val="716F73"/>
                </a:solidFill>
              </a:rPr>
              <a:t>Amgen Proprietary—Internal Use Only</a:t>
            </a: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253076310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940" r:id="rId19"/>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547"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1589" y="1589"/>
                        <a:ext cx="1587" cy="1587"/>
                      </a:xfrm>
                      <a:prstGeom prst="rect">
                        <a:avLst/>
                      </a:prstGeom>
                    </p:spPr>
                  </p:pic>
                </p:oleObj>
              </mc:Fallback>
            </mc:AlternateContent>
          </a:graphicData>
        </a:graphic>
      </p:graphicFrame>
      <p:pic>
        <p:nvPicPr>
          <p:cNvPr id="20" name="Picture 1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997765" y="4755288"/>
            <a:ext cx="817857" cy="200375"/>
          </a:xfrm>
          <a:prstGeom prst="rect">
            <a:avLst/>
          </a:prstGeom>
        </p:spPr>
      </p:pic>
      <p:sp>
        <p:nvSpPr>
          <p:cNvPr id="21" name="Rectangle 20"/>
          <p:cNvSpPr>
            <a:spLocks noGrp="1" noChangeArrowheads="1"/>
          </p:cNvSpPr>
          <p:nvPr/>
        </p:nvSpPr>
        <p:spPr bwMode="gray">
          <a:xfrm>
            <a:off x="4155948" y="4690609"/>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436534">
              <a:defRPr/>
            </a:pPr>
            <a:fld id="{5909AF01-7EFE-4A29-B021-8BA707099C41}" type="slidenum">
              <a:rPr lang="en-US" sz="525">
                <a:solidFill>
                  <a:srgbClr val="716F73"/>
                </a:solidFill>
                <a:latin typeface="Arial"/>
              </a:rPr>
              <a:pPr defTabSz="436534">
                <a:defRPr/>
              </a:pPr>
              <a:t>‹#›</a:t>
            </a:fld>
            <a:endParaRPr lang="en-US" sz="525"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436534">
              <a:defRPr/>
            </a:pPr>
            <a:r>
              <a:rPr lang="en-US" sz="525" b="1" dirty="0">
                <a:solidFill>
                  <a:srgbClr val="716F73"/>
                </a:solidFill>
              </a:rPr>
              <a:t>Amgen Proprietary—For Internal Use Only</a:t>
            </a:r>
          </a:p>
        </p:txBody>
      </p:sp>
      <p:sp>
        <p:nvSpPr>
          <p:cNvPr id="2" name="Text Placeholder 1"/>
          <p:cNvSpPr>
            <a:spLocks noGrp="1"/>
          </p:cNvSpPr>
          <p:nvPr>
            <p:ph type="body" idx="1"/>
          </p:nvPr>
        </p:nvSpPr>
        <p:spPr>
          <a:xfrm>
            <a:off x="363538" y="1280162"/>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9" y="540195"/>
            <a:ext cx="8416925" cy="392415"/>
          </a:xfrm>
          <a:prstGeom prst="rect">
            <a:avLst/>
          </a:prstGeom>
        </p:spPr>
        <p:txBody>
          <a:bodyPr vert="horz" lIns="91440" tIns="45720" rIns="91440" bIns="45720" rtlCol="0" anchor="b" anchorCtr="0">
            <a:spAutoFit/>
          </a:bodyPr>
          <a:lstStyle/>
          <a:p>
            <a:r>
              <a:rPr lang="en-US" dirty="0"/>
              <a:t>CLICK TO EDIT MASTER TITLE STYLE</a:t>
            </a:r>
          </a:p>
        </p:txBody>
      </p:sp>
    </p:spTree>
    <p:extLst>
      <p:ext uri="{BB962C8B-B14F-4D97-AF65-F5344CB8AC3E}">
        <p14:creationId xmlns:p14="http://schemas.microsoft.com/office/powerpoint/2010/main" val="3020105227"/>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Lst>
  <p:transition>
    <p:fade/>
  </p:transition>
  <p:hf hdr="0" ftr="0" dt="0"/>
  <p:txStyles>
    <p:titleStyle>
      <a:lvl1pPr algn="l" defTabSz="214280" rtl="0" eaLnBrk="1" latinLnBrk="0" hangingPunct="1">
        <a:lnSpc>
          <a:spcPct val="100000"/>
        </a:lnSpc>
        <a:spcBef>
          <a:spcPct val="0"/>
        </a:spcBef>
        <a:buNone/>
        <a:defRPr sz="1950" b="1" kern="1200" cap="all" spc="0" baseline="0">
          <a:solidFill>
            <a:schemeClr val="accent1"/>
          </a:solidFill>
          <a:latin typeface="Calibri" panose="020F0502020204030204" pitchFamily="34" charset="0"/>
          <a:ea typeface="+mj-ea"/>
          <a:cs typeface="+mj-cs"/>
        </a:defRPr>
      </a:lvl1pPr>
    </p:titleStyle>
    <p:bodyStyle>
      <a:lvl1pPr marL="173831" indent="-173831" algn="l" defTabSz="214280" rtl="0" eaLnBrk="1" latinLnBrk="0" hangingPunct="1">
        <a:lnSpc>
          <a:spcPct val="100000"/>
        </a:lnSpc>
        <a:spcBef>
          <a:spcPts val="450"/>
        </a:spcBef>
        <a:spcAft>
          <a:spcPts val="0"/>
        </a:spcAft>
        <a:buClr>
          <a:schemeClr val="accent1"/>
        </a:buClr>
        <a:buSzPct val="90000"/>
        <a:buFont typeface="Arial" panose="020B0604020202020204" pitchFamily="34" charset="0"/>
        <a:buChar char="•"/>
        <a:defRPr sz="1650" b="1" kern="1200" spc="0" baseline="0">
          <a:solidFill>
            <a:schemeClr val="tx1"/>
          </a:solidFill>
          <a:latin typeface="+mn-lt"/>
          <a:ea typeface="+mn-ea"/>
          <a:cs typeface="+mn-cs"/>
        </a:defRPr>
      </a:lvl1pPr>
      <a:lvl2pPr marL="342900" indent="-169069" algn="l" defTabSz="214280" rtl="0" eaLnBrk="1" latinLnBrk="0" hangingPunct="1">
        <a:lnSpc>
          <a:spcPct val="100000"/>
        </a:lnSpc>
        <a:spcBef>
          <a:spcPts val="300"/>
        </a:spcBef>
        <a:spcAft>
          <a:spcPts val="0"/>
        </a:spcAft>
        <a:buClr>
          <a:schemeClr val="accent1"/>
        </a:buClr>
        <a:buSzPct val="90000"/>
        <a:buFont typeface="Arial" panose="020B0604020202020204" pitchFamily="34" charset="0"/>
        <a:buChar char="–"/>
        <a:defRPr sz="1500" b="1" kern="1200" spc="0" baseline="0">
          <a:solidFill>
            <a:schemeClr val="tx1"/>
          </a:solidFill>
          <a:latin typeface="+mn-lt"/>
          <a:ea typeface="+mn-ea"/>
          <a:cs typeface="+mn-cs"/>
        </a:defRPr>
      </a:lvl2pPr>
      <a:lvl3pPr marL="516731" indent="-173831" algn="l" defTabSz="214280" rtl="0" eaLnBrk="1" latinLnBrk="0" hangingPunct="1">
        <a:lnSpc>
          <a:spcPct val="100000"/>
        </a:lnSpc>
        <a:spcBef>
          <a:spcPts val="300"/>
        </a:spcBef>
        <a:spcAft>
          <a:spcPts val="0"/>
        </a:spcAft>
        <a:buClr>
          <a:schemeClr val="accent1"/>
        </a:buClr>
        <a:buSzPct val="90000"/>
        <a:buFont typeface="Arial" panose="020B0604020202020204" pitchFamily="34" charset="0"/>
        <a:buChar char="•"/>
        <a:defRPr sz="1350" b="1" kern="1200" spc="0" baseline="0">
          <a:solidFill>
            <a:schemeClr val="tx1"/>
          </a:solidFill>
          <a:latin typeface="+mn-lt"/>
          <a:ea typeface="+mn-ea"/>
          <a:cs typeface="+mn-cs"/>
        </a:defRPr>
      </a:lvl3pPr>
      <a:lvl4pPr marL="685800" indent="-169069" algn="l" defTabSz="214280" rtl="0" eaLnBrk="1" latinLnBrk="0" hangingPunct="1">
        <a:lnSpc>
          <a:spcPct val="100000"/>
        </a:lnSpc>
        <a:spcBef>
          <a:spcPts val="225"/>
        </a:spcBef>
        <a:buClr>
          <a:schemeClr val="accent1"/>
        </a:buClr>
        <a:buSzPct val="90000"/>
        <a:buFont typeface="Arial" panose="020B0604020202020204" pitchFamily="34" charset="0"/>
        <a:buChar char="–"/>
        <a:defRPr sz="1200" b="1" kern="1200" baseline="0">
          <a:solidFill>
            <a:schemeClr val="tx1"/>
          </a:solidFill>
          <a:latin typeface="+mn-lt"/>
          <a:ea typeface="+mn-ea"/>
          <a:cs typeface="+mn-cs"/>
        </a:defRPr>
      </a:lvl4pPr>
      <a:lvl5pPr marL="813197" indent="-127397" algn="l" defTabSz="214280" rtl="0" eaLnBrk="1" latinLnBrk="0" hangingPunct="1">
        <a:lnSpc>
          <a:spcPct val="100000"/>
        </a:lnSpc>
        <a:spcBef>
          <a:spcPts val="225"/>
        </a:spcBef>
        <a:buClr>
          <a:schemeClr val="accent1"/>
        </a:buClr>
        <a:buSzPct val="90000"/>
        <a:buFont typeface="Arial" panose="020B0604020202020204" pitchFamily="34" charset="0"/>
        <a:buChar char="•"/>
        <a:defRPr sz="1050" b="1" kern="1200" baseline="0">
          <a:solidFill>
            <a:schemeClr val="tx1"/>
          </a:solidFill>
          <a:latin typeface="+mn-lt"/>
          <a:ea typeface="+mn-ea"/>
          <a:cs typeface="+mn-cs"/>
        </a:defRPr>
      </a:lvl5pPr>
      <a:lvl6pPr marL="535702" indent="0" algn="l" defTabSz="214280" rtl="0" eaLnBrk="1" latinLnBrk="0" hangingPunct="1">
        <a:lnSpc>
          <a:spcPct val="90000"/>
        </a:lnSpc>
        <a:spcBef>
          <a:spcPts val="117"/>
        </a:spcBef>
        <a:buFont typeface="Arial" panose="020B0604020202020204" pitchFamily="34" charset="0"/>
        <a:buNone/>
        <a:defRPr sz="422" kern="1200">
          <a:solidFill>
            <a:schemeClr val="tx1"/>
          </a:solidFill>
          <a:latin typeface="+mn-lt"/>
          <a:ea typeface="+mn-ea"/>
          <a:cs typeface="+mn-cs"/>
        </a:defRPr>
      </a:lvl6pPr>
      <a:lvl7pPr marL="696412"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7pPr>
      <a:lvl8pPr marL="803552"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8pPr>
      <a:lvl9pPr marL="910693"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9pPr>
    </p:bodyStyle>
    <p:otherStyle>
      <a:defPPr>
        <a:defRPr lang="en-US"/>
      </a:defPPr>
      <a:lvl1pPr marL="0" algn="l" defTabSz="214280" rtl="0" eaLnBrk="1" latinLnBrk="0" hangingPunct="1">
        <a:defRPr sz="422" kern="1200">
          <a:solidFill>
            <a:schemeClr val="tx1"/>
          </a:solidFill>
          <a:latin typeface="+mn-lt"/>
          <a:ea typeface="+mn-ea"/>
          <a:cs typeface="+mn-cs"/>
        </a:defRPr>
      </a:lvl1pPr>
      <a:lvl2pPr marL="107141" algn="l" defTabSz="214280" rtl="0" eaLnBrk="1" latinLnBrk="0" hangingPunct="1">
        <a:defRPr sz="422" kern="1200">
          <a:solidFill>
            <a:schemeClr val="tx1"/>
          </a:solidFill>
          <a:latin typeface="+mn-lt"/>
          <a:ea typeface="+mn-ea"/>
          <a:cs typeface="+mn-cs"/>
        </a:defRPr>
      </a:lvl2pPr>
      <a:lvl3pPr marL="214280" algn="l" defTabSz="214280" rtl="0" eaLnBrk="1" latinLnBrk="0" hangingPunct="1">
        <a:defRPr sz="422" kern="1200">
          <a:solidFill>
            <a:schemeClr val="tx1"/>
          </a:solidFill>
          <a:latin typeface="+mn-lt"/>
          <a:ea typeface="+mn-ea"/>
          <a:cs typeface="+mn-cs"/>
        </a:defRPr>
      </a:lvl3pPr>
      <a:lvl4pPr marL="321421" algn="l" defTabSz="214280" rtl="0" eaLnBrk="1" latinLnBrk="0" hangingPunct="1">
        <a:defRPr sz="422" kern="1200">
          <a:solidFill>
            <a:schemeClr val="tx1"/>
          </a:solidFill>
          <a:latin typeface="+mn-lt"/>
          <a:ea typeface="+mn-ea"/>
          <a:cs typeface="+mn-cs"/>
        </a:defRPr>
      </a:lvl4pPr>
      <a:lvl5pPr marL="428561" algn="l" defTabSz="214280" rtl="0" eaLnBrk="1" latinLnBrk="0" hangingPunct="1">
        <a:defRPr sz="422" kern="1200">
          <a:solidFill>
            <a:schemeClr val="tx1"/>
          </a:solidFill>
          <a:latin typeface="+mn-lt"/>
          <a:ea typeface="+mn-ea"/>
          <a:cs typeface="+mn-cs"/>
        </a:defRPr>
      </a:lvl5pPr>
      <a:lvl6pPr marL="535702" algn="l" defTabSz="214280" rtl="0" eaLnBrk="1" latinLnBrk="0" hangingPunct="1">
        <a:defRPr sz="422" kern="1200">
          <a:solidFill>
            <a:schemeClr val="tx1"/>
          </a:solidFill>
          <a:latin typeface="+mn-lt"/>
          <a:ea typeface="+mn-ea"/>
          <a:cs typeface="+mn-cs"/>
        </a:defRPr>
      </a:lvl6pPr>
      <a:lvl7pPr marL="642842" algn="l" defTabSz="214280" rtl="0" eaLnBrk="1" latinLnBrk="0" hangingPunct="1">
        <a:defRPr sz="422" kern="1200">
          <a:solidFill>
            <a:schemeClr val="tx1"/>
          </a:solidFill>
          <a:latin typeface="+mn-lt"/>
          <a:ea typeface="+mn-ea"/>
          <a:cs typeface="+mn-cs"/>
        </a:defRPr>
      </a:lvl7pPr>
      <a:lvl8pPr marL="749982" algn="l" defTabSz="214280" rtl="0" eaLnBrk="1" latinLnBrk="0" hangingPunct="1">
        <a:defRPr sz="422" kern="1200">
          <a:solidFill>
            <a:schemeClr val="tx1"/>
          </a:solidFill>
          <a:latin typeface="+mn-lt"/>
          <a:ea typeface="+mn-ea"/>
          <a:cs typeface="+mn-cs"/>
        </a:defRPr>
      </a:lvl8pPr>
      <a:lvl9pPr marL="857123" algn="l" defTabSz="214280" rtl="0" eaLnBrk="1" latinLnBrk="0" hangingPunct="1">
        <a:defRPr sz="422"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71"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1589" y="1589"/>
                        <a:ext cx="1587" cy="1587"/>
                      </a:xfrm>
                      <a:prstGeom prst="rect">
                        <a:avLst/>
                      </a:prstGeom>
                    </p:spPr>
                  </p:pic>
                </p:oleObj>
              </mc:Fallback>
            </mc:AlternateContent>
          </a:graphicData>
        </a:graphic>
      </p:graphicFrame>
      <p:pic>
        <p:nvPicPr>
          <p:cNvPr id="20" name="Picture 1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997765" y="4755288"/>
            <a:ext cx="817857" cy="200375"/>
          </a:xfrm>
          <a:prstGeom prst="rect">
            <a:avLst/>
          </a:prstGeom>
        </p:spPr>
      </p:pic>
      <p:sp>
        <p:nvSpPr>
          <p:cNvPr id="21" name="Rectangle 20"/>
          <p:cNvSpPr>
            <a:spLocks noGrp="1" noChangeArrowheads="1"/>
          </p:cNvSpPr>
          <p:nvPr/>
        </p:nvSpPr>
        <p:spPr bwMode="gray">
          <a:xfrm>
            <a:off x="4155948" y="4690609"/>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436534">
              <a:defRPr/>
            </a:pPr>
            <a:fld id="{5909AF01-7EFE-4A29-B021-8BA707099C41}" type="slidenum">
              <a:rPr lang="en-US" sz="525">
                <a:solidFill>
                  <a:srgbClr val="716F73"/>
                </a:solidFill>
                <a:latin typeface="Arial"/>
              </a:rPr>
              <a:pPr defTabSz="436534">
                <a:defRPr/>
              </a:pPr>
              <a:t>‹#›</a:t>
            </a:fld>
            <a:endParaRPr lang="en-US" sz="525" dirty="0">
              <a:solidFill>
                <a:srgbClr val="716F73"/>
              </a:solidFill>
              <a:latin typeface="Arial"/>
            </a:endParaRPr>
          </a:p>
        </p:txBody>
      </p:sp>
      <p:sp>
        <p:nvSpPr>
          <p:cNvPr id="3" name="TextBox 2"/>
          <p:cNvSpPr txBox="1"/>
          <p:nvPr/>
        </p:nvSpPr>
        <p:spPr>
          <a:xfrm>
            <a:off x="5560933" y="4688860"/>
            <a:ext cx="2310938" cy="275592"/>
          </a:xfrm>
          <a:prstGeom prst="rect">
            <a:avLst/>
          </a:prstGeom>
          <a:noFill/>
        </p:spPr>
        <p:txBody>
          <a:bodyPr wrap="square" lIns="0" tIns="0" rIns="0" bIns="0" rtlCol="0" anchor="b">
            <a:noAutofit/>
          </a:bodyPr>
          <a:lstStyle/>
          <a:p>
            <a:pPr algn="r" defTabSz="436534">
              <a:defRPr/>
            </a:pPr>
            <a:r>
              <a:rPr lang="en-US" sz="525" b="1" dirty="0">
                <a:solidFill>
                  <a:srgbClr val="716F73"/>
                </a:solidFill>
              </a:rPr>
              <a:t>Amgen Proprietary—For Internal Use Only</a:t>
            </a:r>
          </a:p>
        </p:txBody>
      </p:sp>
      <p:sp>
        <p:nvSpPr>
          <p:cNvPr id="2" name="Text Placeholder 1"/>
          <p:cNvSpPr>
            <a:spLocks noGrp="1"/>
          </p:cNvSpPr>
          <p:nvPr>
            <p:ph type="body" idx="1"/>
          </p:nvPr>
        </p:nvSpPr>
        <p:spPr>
          <a:xfrm>
            <a:off x="363538" y="1280162"/>
            <a:ext cx="8416782" cy="311447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9" y="540195"/>
            <a:ext cx="8416925" cy="392415"/>
          </a:xfrm>
          <a:prstGeom prst="rect">
            <a:avLst/>
          </a:prstGeom>
        </p:spPr>
        <p:txBody>
          <a:bodyPr vert="horz" lIns="91440" tIns="45720" rIns="91440" bIns="45720" rtlCol="0" anchor="b" anchorCtr="0">
            <a:spAutoFit/>
          </a:bodyPr>
          <a:lstStyle/>
          <a:p>
            <a:r>
              <a:rPr lang="en-US" dirty="0"/>
              <a:t>CLICK TO EDIT MASTER TITLE STYLE</a:t>
            </a:r>
          </a:p>
        </p:txBody>
      </p:sp>
    </p:spTree>
    <p:extLst>
      <p:ext uri="{BB962C8B-B14F-4D97-AF65-F5344CB8AC3E}">
        <p14:creationId xmlns:p14="http://schemas.microsoft.com/office/powerpoint/2010/main" val="317359966"/>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Lst>
  <p:transition>
    <p:fade/>
  </p:transition>
  <p:hf sldNum="0" hdr="0" ftr="0" dt="0"/>
  <p:txStyles>
    <p:titleStyle>
      <a:lvl1pPr algn="l" defTabSz="214280" rtl="0" eaLnBrk="1" latinLnBrk="0" hangingPunct="1">
        <a:lnSpc>
          <a:spcPct val="100000"/>
        </a:lnSpc>
        <a:spcBef>
          <a:spcPct val="0"/>
        </a:spcBef>
        <a:buNone/>
        <a:defRPr sz="1950" b="1" kern="1200" cap="all" spc="0" baseline="0">
          <a:solidFill>
            <a:schemeClr val="accent1"/>
          </a:solidFill>
          <a:latin typeface="Calibri" panose="020F0502020204030204" pitchFamily="34" charset="0"/>
          <a:ea typeface="+mj-ea"/>
          <a:cs typeface="+mj-cs"/>
        </a:defRPr>
      </a:lvl1pPr>
    </p:titleStyle>
    <p:bodyStyle>
      <a:lvl1pPr marL="173831" indent="-173831" algn="l" defTabSz="214280" rtl="0" eaLnBrk="1" latinLnBrk="0" hangingPunct="1">
        <a:lnSpc>
          <a:spcPct val="100000"/>
        </a:lnSpc>
        <a:spcBef>
          <a:spcPts val="450"/>
        </a:spcBef>
        <a:spcAft>
          <a:spcPts val="0"/>
        </a:spcAft>
        <a:buClr>
          <a:schemeClr val="accent1"/>
        </a:buClr>
        <a:buSzPct val="90000"/>
        <a:buFont typeface="Arial" panose="020B0604020202020204" pitchFamily="34" charset="0"/>
        <a:buChar char="•"/>
        <a:defRPr sz="1650" b="1" kern="1200" spc="0" baseline="0">
          <a:solidFill>
            <a:schemeClr val="tx1"/>
          </a:solidFill>
          <a:latin typeface="+mn-lt"/>
          <a:ea typeface="+mn-ea"/>
          <a:cs typeface="+mn-cs"/>
        </a:defRPr>
      </a:lvl1pPr>
      <a:lvl2pPr marL="342900" indent="-169069" algn="l" defTabSz="214280" rtl="0" eaLnBrk="1" latinLnBrk="0" hangingPunct="1">
        <a:lnSpc>
          <a:spcPct val="100000"/>
        </a:lnSpc>
        <a:spcBef>
          <a:spcPts val="300"/>
        </a:spcBef>
        <a:spcAft>
          <a:spcPts val="0"/>
        </a:spcAft>
        <a:buClr>
          <a:schemeClr val="accent1"/>
        </a:buClr>
        <a:buSzPct val="90000"/>
        <a:buFont typeface="Arial" panose="020B0604020202020204" pitchFamily="34" charset="0"/>
        <a:buChar char="–"/>
        <a:defRPr sz="1500" b="1" kern="1200" spc="0" baseline="0">
          <a:solidFill>
            <a:schemeClr val="tx1"/>
          </a:solidFill>
          <a:latin typeface="+mn-lt"/>
          <a:ea typeface="+mn-ea"/>
          <a:cs typeface="+mn-cs"/>
        </a:defRPr>
      </a:lvl2pPr>
      <a:lvl3pPr marL="516731" indent="-173831" algn="l" defTabSz="214280" rtl="0" eaLnBrk="1" latinLnBrk="0" hangingPunct="1">
        <a:lnSpc>
          <a:spcPct val="100000"/>
        </a:lnSpc>
        <a:spcBef>
          <a:spcPts val="300"/>
        </a:spcBef>
        <a:spcAft>
          <a:spcPts val="0"/>
        </a:spcAft>
        <a:buClr>
          <a:schemeClr val="accent1"/>
        </a:buClr>
        <a:buSzPct val="90000"/>
        <a:buFont typeface="Arial" panose="020B0604020202020204" pitchFamily="34" charset="0"/>
        <a:buChar char="•"/>
        <a:defRPr sz="1350" b="1" kern="1200" spc="0" baseline="0">
          <a:solidFill>
            <a:schemeClr val="tx1"/>
          </a:solidFill>
          <a:latin typeface="+mn-lt"/>
          <a:ea typeface="+mn-ea"/>
          <a:cs typeface="+mn-cs"/>
        </a:defRPr>
      </a:lvl3pPr>
      <a:lvl4pPr marL="685800" indent="-169069" algn="l" defTabSz="214280" rtl="0" eaLnBrk="1" latinLnBrk="0" hangingPunct="1">
        <a:lnSpc>
          <a:spcPct val="100000"/>
        </a:lnSpc>
        <a:spcBef>
          <a:spcPts val="225"/>
        </a:spcBef>
        <a:buClr>
          <a:schemeClr val="accent1"/>
        </a:buClr>
        <a:buSzPct val="90000"/>
        <a:buFont typeface="Arial" panose="020B0604020202020204" pitchFamily="34" charset="0"/>
        <a:buChar char="–"/>
        <a:defRPr sz="1200" b="1" kern="1200" baseline="0">
          <a:solidFill>
            <a:schemeClr val="tx1"/>
          </a:solidFill>
          <a:latin typeface="+mn-lt"/>
          <a:ea typeface="+mn-ea"/>
          <a:cs typeface="+mn-cs"/>
        </a:defRPr>
      </a:lvl4pPr>
      <a:lvl5pPr marL="813197" indent="-127397" algn="l" defTabSz="214280" rtl="0" eaLnBrk="1" latinLnBrk="0" hangingPunct="1">
        <a:lnSpc>
          <a:spcPct val="100000"/>
        </a:lnSpc>
        <a:spcBef>
          <a:spcPts val="225"/>
        </a:spcBef>
        <a:buClr>
          <a:schemeClr val="accent1"/>
        </a:buClr>
        <a:buSzPct val="90000"/>
        <a:buFont typeface="Arial" panose="020B0604020202020204" pitchFamily="34" charset="0"/>
        <a:buChar char="•"/>
        <a:defRPr sz="1050" b="1" kern="1200" baseline="0">
          <a:solidFill>
            <a:schemeClr val="tx1"/>
          </a:solidFill>
          <a:latin typeface="+mn-lt"/>
          <a:ea typeface="+mn-ea"/>
          <a:cs typeface="+mn-cs"/>
        </a:defRPr>
      </a:lvl5pPr>
      <a:lvl6pPr marL="535702" indent="0" algn="l" defTabSz="214280" rtl="0" eaLnBrk="1" latinLnBrk="0" hangingPunct="1">
        <a:lnSpc>
          <a:spcPct val="90000"/>
        </a:lnSpc>
        <a:spcBef>
          <a:spcPts val="117"/>
        </a:spcBef>
        <a:buFont typeface="Arial" panose="020B0604020202020204" pitchFamily="34" charset="0"/>
        <a:buNone/>
        <a:defRPr sz="422" kern="1200">
          <a:solidFill>
            <a:schemeClr val="tx1"/>
          </a:solidFill>
          <a:latin typeface="+mn-lt"/>
          <a:ea typeface="+mn-ea"/>
          <a:cs typeface="+mn-cs"/>
        </a:defRPr>
      </a:lvl6pPr>
      <a:lvl7pPr marL="696412"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7pPr>
      <a:lvl8pPr marL="803552"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8pPr>
      <a:lvl9pPr marL="910693" indent="-53570" algn="l" defTabSz="214280" rtl="0" eaLnBrk="1" latinLnBrk="0" hangingPunct="1">
        <a:lnSpc>
          <a:spcPct val="90000"/>
        </a:lnSpc>
        <a:spcBef>
          <a:spcPts val="117"/>
        </a:spcBef>
        <a:buFont typeface="Arial" panose="020B0604020202020204" pitchFamily="34" charset="0"/>
        <a:buChar char="•"/>
        <a:defRPr sz="422" kern="1200">
          <a:solidFill>
            <a:schemeClr val="tx1"/>
          </a:solidFill>
          <a:latin typeface="+mn-lt"/>
          <a:ea typeface="+mn-ea"/>
          <a:cs typeface="+mn-cs"/>
        </a:defRPr>
      </a:lvl9pPr>
    </p:bodyStyle>
    <p:otherStyle>
      <a:defPPr>
        <a:defRPr lang="en-US"/>
      </a:defPPr>
      <a:lvl1pPr marL="0" algn="l" defTabSz="214280" rtl="0" eaLnBrk="1" latinLnBrk="0" hangingPunct="1">
        <a:defRPr sz="422" kern="1200">
          <a:solidFill>
            <a:schemeClr val="tx1"/>
          </a:solidFill>
          <a:latin typeface="+mn-lt"/>
          <a:ea typeface="+mn-ea"/>
          <a:cs typeface="+mn-cs"/>
        </a:defRPr>
      </a:lvl1pPr>
      <a:lvl2pPr marL="107141" algn="l" defTabSz="214280" rtl="0" eaLnBrk="1" latinLnBrk="0" hangingPunct="1">
        <a:defRPr sz="422" kern="1200">
          <a:solidFill>
            <a:schemeClr val="tx1"/>
          </a:solidFill>
          <a:latin typeface="+mn-lt"/>
          <a:ea typeface="+mn-ea"/>
          <a:cs typeface="+mn-cs"/>
        </a:defRPr>
      </a:lvl2pPr>
      <a:lvl3pPr marL="214280" algn="l" defTabSz="214280" rtl="0" eaLnBrk="1" latinLnBrk="0" hangingPunct="1">
        <a:defRPr sz="422" kern="1200">
          <a:solidFill>
            <a:schemeClr val="tx1"/>
          </a:solidFill>
          <a:latin typeface="+mn-lt"/>
          <a:ea typeface="+mn-ea"/>
          <a:cs typeface="+mn-cs"/>
        </a:defRPr>
      </a:lvl3pPr>
      <a:lvl4pPr marL="321421" algn="l" defTabSz="214280" rtl="0" eaLnBrk="1" latinLnBrk="0" hangingPunct="1">
        <a:defRPr sz="422" kern="1200">
          <a:solidFill>
            <a:schemeClr val="tx1"/>
          </a:solidFill>
          <a:latin typeface="+mn-lt"/>
          <a:ea typeface="+mn-ea"/>
          <a:cs typeface="+mn-cs"/>
        </a:defRPr>
      </a:lvl4pPr>
      <a:lvl5pPr marL="428561" algn="l" defTabSz="214280" rtl="0" eaLnBrk="1" latinLnBrk="0" hangingPunct="1">
        <a:defRPr sz="422" kern="1200">
          <a:solidFill>
            <a:schemeClr val="tx1"/>
          </a:solidFill>
          <a:latin typeface="+mn-lt"/>
          <a:ea typeface="+mn-ea"/>
          <a:cs typeface="+mn-cs"/>
        </a:defRPr>
      </a:lvl5pPr>
      <a:lvl6pPr marL="535702" algn="l" defTabSz="214280" rtl="0" eaLnBrk="1" latinLnBrk="0" hangingPunct="1">
        <a:defRPr sz="422" kern="1200">
          <a:solidFill>
            <a:schemeClr val="tx1"/>
          </a:solidFill>
          <a:latin typeface="+mn-lt"/>
          <a:ea typeface="+mn-ea"/>
          <a:cs typeface="+mn-cs"/>
        </a:defRPr>
      </a:lvl6pPr>
      <a:lvl7pPr marL="642842" algn="l" defTabSz="214280" rtl="0" eaLnBrk="1" latinLnBrk="0" hangingPunct="1">
        <a:defRPr sz="422" kern="1200">
          <a:solidFill>
            <a:schemeClr val="tx1"/>
          </a:solidFill>
          <a:latin typeface="+mn-lt"/>
          <a:ea typeface="+mn-ea"/>
          <a:cs typeface="+mn-cs"/>
        </a:defRPr>
      </a:lvl7pPr>
      <a:lvl8pPr marL="749982" algn="l" defTabSz="214280" rtl="0" eaLnBrk="1" latinLnBrk="0" hangingPunct="1">
        <a:defRPr sz="422" kern="1200">
          <a:solidFill>
            <a:schemeClr val="tx1"/>
          </a:solidFill>
          <a:latin typeface="+mn-lt"/>
          <a:ea typeface="+mn-ea"/>
          <a:cs typeface="+mn-cs"/>
        </a:defRPr>
      </a:lvl8pPr>
      <a:lvl9pPr marL="857123" algn="l" defTabSz="214280" rtl="0" eaLnBrk="1" latinLnBrk="0" hangingPunct="1">
        <a:defRPr sz="42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5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2.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1.xml"/><Relationship Id="rId1" Type="http://schemas.openxmlformats.org/officeDocument/2006/relationships/slideLayout" Target="../slideLayouts/slideLayout35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5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24.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35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5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25.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5.xml"/><Relationship Id="rId1" Type="http://schemas.openxmlformats.org/officeDocument/2006/relationships/slideLayout" Target="../slideLayouts/slideLayout353.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6.xml"/><Relationship Id="rId1" Type="http://schemas.openxmlformats.org/officeDocument/2006/relationships/slideLayout" Target="../slideLayouts/slideLayout35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35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3.xml"/></Relationships>
</file>

<file path=ppt/slides/_rels/slide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7.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8.jpe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0.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3.xml"/></Relationships>
</file>

<file path=ppt/slides/_rels/slide8.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notesSlide" Target="../notesSlides/notesSlide8.xml"/><Relationship Id="rId5" Type="http://schemas.openxmlformats.org/officeDocument/2006/relationships/slideLayout" Target="../slideLayouts/slideLayout353.xml"/><Relationship Id="rId4" Type="http://schemas.openxmlformats.org/officeDocument/2006/relationships/tags" Target="../tags/tag4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1500" y="4275364"/>
            <a:ext cx="7449344" cy="346274"/>
          </a:xfrm>
        </p:spPr>
        <p:txBody>
          <a:bodyPr/>
          <a:lstStyle/>
          <a:p>
            <a:r>
              <a:rPr lang="en-US" dirty="0"/>
              <a:t>Treasury Leaders Summit LDN, November 19 </a:t>
            </a:r>
          </a:p>
        </p:txBody>
      </p:sp>
      <p:sp>
        <p:nvSpPr>
          <p:cNvPr id="3" name="Title 2"/>
          <p:cNvSpPr>
            <a:spLocks noGrp="1"/>
          </p:cNvSpPr>
          <p:nvPr>
            <p:ph type="title"/>
          </p:nvPr>
        </p:nvSpPr>
        <p:spPr>
          <a:xfrm>
            <a:off x="446059" y="2257425"/>
            <a:ext cx="8618112" cy="514350"/>
          </a:xfrm>
        </p:spPr>
        <p:txBody>
          <a:bodyPr/>
          <a:lstStyle/>
          <a:p>
            <a:r>
              <a:rPr lang="en-US" sz="3200" dirty="0"/>
              <a:t>Treasury DIGITAL TRANSFORMATION</a:t>
            </a:r>
            <a:br>
              <a:rPr lang="en-US" sz="3200" dirty="0"/>
            </a:br>
            <a:br>
              <a:rPr lang="en-US" sz="2400" i="1" dirty="0"/>
            </a:br>
            <a:r>
              <a:rPr lang="en-US" sz="2400" i="1" dirty="0"/>
              <a:t>Brenda Schreuder</a:t>
            </a:r>
          </a:p>
        </p:txBody>
      </p:sp>
    </p:spTree>
    <p:extLst>
      <p:ext uri="{BB962C8B-B14F-4D97-AF65-F5344CB8AC3E}">
        <p14:creationId xmlns:p14="http://schemas.microsoft.com/office/powerpoint/2010/main" val="2331976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A1A3C-F8AE-434C-A004-1C4EB296A8CF}"/>
              </a:ext>
            </a:extLst>
          </p:cNvPr>
          <p:cNvSpPr>
            <a:spLocks noGrp="1"/>
          </p:cNvSpPr>
          <p:nvPr>
            <p:ph type="title"/>
          </p:nvPr>
        </p:nvSpPr>
        <p:spPr/>
        <p:txBody>
          <a:bodyPr/>
          <a:lstStyle/>
          <a:p>
            <a:pPr algn="ctr"/>
            <a:r>
              <a:rPr lang="en-US" dirty="0"/>
              <a:t>SAP Cash Flow Forecasting - DEMO</a:t>
            </a:r>
          </a:p>
        </p:txBody>
      </p:sp>
      <p:pic>
        <p:nvPicPr>
          <p:cNvPr id="3" name="2019-11-15_10-15-26">
            <a:hlinkClick r:id="" action="ppaction://media"/>
            <a:extLst>
              <a:ext uri="{FF2B5EF4-FFF2-40B4-BE49-F238E27FC236}">
                <a16:creationId xmlns:a16="http://schemas.microsoft.com/office/drawing/2014/main" id="{478D2785-821D-4384-83EB-D15982A59D8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295400" y="1085124"/>
            <a:ext cx="6172200" cy="3438644"/>
          </a:xfrm>
          <a:prstGeom prst="rect">
            <a:avLst/>
          </a:prstGeom>
        </p:spPr>
      </p:pic>
    </p:spTree>
    <p:extLst>
      <p:ext uri="{BB962C8B-B14F-4D97-AF65-F5344CB8AC3E}">
        <p14:creationId xmlns:p14="http://schemas.microsoft.com/office/powerpoint/2010/main" val="1524441496"/>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4F30D-58D1-4AC0-825C-59657EA1EE82}"/>
              </a:ext>
            </a:extLst>
          </p:cNvPr>
          <p:cNvSpPr>
            <a:spLocks noGrp="1"/>
          </p:cNvSpPr>
          <p:nvPr>
            <p:ph type="title"/>
          </p:nvPr>
        </p:nvSpPr>
        <p:spPr/>
        <p:txBody>
          <a:bodyPr/>
          <a:lstStyle/>
          <a:p>
            <a:pPr algn="ctr"/>
            <a:r>
              <a:rPr lang="en-US" dirty="0"/>
              <a:t>RPA – </a:t>
            </a:r>
            <a:r>
              <a:rPr lang="en-US" dirty="0" err="1"/>
              <a:t>ROBotic</a:t>
            </a:r>
            <a:r>
              <a:rPr lang="en-US" dirty="0"/>
              <a:t> process automation</a:t>
            </a:r>
          </a:p>
        </p:txBody>
      </p:sp>
      <p:sp>
        <p:nvSpPr>
          <p:cNvPr id="3" name="TextBox 2">
            <a:extLst>
              <a:ext uri="{FF2B5EF4-FFF2-40B4-BE49-F238E27FC236}">
                <a16:creationId xmlns:a16="http://schemas.microsoft.com/office/drawing/2014/main" id="{5BEA1A0E-4468-43D2-A99D-F808A551A472}"/>
              </a:ext>
            </a:extLst>
          </p:cNvPr>
          <p:cNvSpPr txBox="1"/>
          <p:nvPr/>
        </p:nvSpPr>
        <p:spPr>
          <a:xfrm>
            <a:off x="533400" y="1428750"/>
            <a:ext cx="3200400" cy="2708434"/>
          </a:xfrm>
          <a:prstGeom prst="rect">
            <a:avLst/>
          </a:prstGeom>
          <a:noFill/>
        </p:spPr>
        <p:txBody>
          <a:bodyPr wrap="square" rtlCol="0">
            <a:spAutoFit/>
          </a:bodyPr>
          <a:lstStyle/>
          <a:p>
            <a:r>
              <a:rPr lang="en-US" sz="1200" b="1" dirty="0">
                <a:solidFill>
                  <a:schemeClr val="accent1">
                    <a:lumMod val="50000"/>
                  </a:schemeClr>
                </a:solidFill>
              </a:rPr>
              <a:t>3 Treasury processes identified </a:t>
            </a:r>
            <a:r>
              <a:rPr lang="en-US" sz="1200" b="1" dirty="0">
                <a:solidFill>
                  <a:schemeClr val="accent1">
                    <a:lumMod val="50000"/>
                  </a:schemeClr>
                </a:solidFill>
                <a:sym typeface="Wingdings" panose="05000000000000000000" pitchFamily="2" charset="2"/>
              </a:rPr>
              <a:t> only 1 approved for implementation</a:t>
            </a:r>
          </a:p>
          <a:p>
            <a:endParaRPr lang="en-US" sz="1200" b="1" dirty="0">
              <a:solidFill>
                <a:schemeClr val="accent1">
                  <a:lumMod val="50000"/>
                </a:schemeClr>
              </a:solidFill>
              <a:sym typeface="Wingdings" panose="05000000000000000000" pitchFamily="2" charset="2"/>
            </a:endParaRPr>
          </a:p>
          <a:p>
            <a:r>
              <a:rPr lang="en-US" sz="1200" b="1" dirty="0">
                <a:solidFill>
                  <a:schemeClr val="accent1">
                    <a:lumMod val="50000"/>
                  </a:schemeClr>
                </a:solidFill>
                <a:sym typeface="Wingdings" panose="05000000000000000000" pitchFamily="2" charset="2"/>
              </a:rPr>
              <a:t>Reason:</a:t>
            </a:r>
          </a:p>
          <a:p>
            <a:endParaRPr lang="en-US" sz="1200" b="1" dirty="0">
              <a:solidFill>
                <a:schemeClr val="accent1">
                  <a:lumMod val="50000"/>
                </a:schemeClr>
              </a:solidFill>
              <a:sym typeface="Wingdings" panose="05000000000000000000" pitchFamily="2" charset="2"/>
            </a:endParaRPr>
          </a:p>
          <a:p>
            <a:pPr marL="285750" indent="-285750">
              <a:buFont typeface="Wingdings" panose="05000000000000000000" pitchFamily="2" charset="2"/>
              <a:buChar char="Ø"/>
            </a:pPr>
            <a:r>
              <a:rPr lang="en-US" sz="1200" b="1" dirty="0">
                <a:solidFill>
                  <a:schemeClr val="accent1">
                    <a:lumMod val="50000"/>
                  </a:schemeClr>
                </a:solidFill>
                <a:sym typeface="Wingdings" panose="05000000000000000000" pitchFamily="2" charset="2"/>
              </a:rPr>
              <a:t>Cost/Benefit not according to the company standard</a:t>
            </a:r>
          </a:p>
          <a:p>
            <a:pPr marL="285750" indent="-285750">
              <a:buFont typeface="Wingdings" panose="05000000000000000000" pitchFamily="2" charset="2"/>
              <a:buChar char="Ø"/>
            </a:pPr>
            <a:r>
              <a:rPr lang="en-US" sz="1200" b="1" dirty="0">
                <a:solidFill>
                  <a:schemeClr val="accent1">
                    <a:lumMod val="50000"/>
                  </a:schemeClr>
                </a:solidFill>
                <a:sym typeface="Wingdings" panose="05000000000000000000" pitchFamily="2" charset="2"/>
              </a:rPr>
              <a:t>Process could be automated through standard SAP functionality (i.e. cash concentration)</a:t>
            </a:r>
          </a:p>
          <a:p>
            <a:pPr marL="285750" indent="-285750">
              <a:buFont typeface="Wingdings" panose="05000000000000000000" pitchFamily="2" charset="2"/>
              <a:buChar char="Ø"/>
            </a:pPr>
            <a:r>
              <a:rPr lang="en-US" sz="1200" b="1" dirty="0">
                <a:solidFill>
                  <a:schemeClr val="accent1">
                    <a:lumMod val="50000"/>
                  </a:schemeClr>
                </a:solidFill>
                <a:sym typeface="Wingdings" panose="05000000000000000000" pitchFamily="2" charset="2"/>
              </a:rPr>
              <a:t>Process too complex and too sensitive for errors (SAP, Download to XLS, Upload to SAP)</a:t>
            </a:r>
          </a:p>
          <a:p>
            <a:endParaRPr lang="en-US" sz="1400" b="1" dirty="0">
              <a:sym typeface="Wingdings" panose="05000000000000000000" pitchFamily="2" charset="2"/>
            </a:endParaRPr>
          </a:p>
        </p:txBody>
      </p:sp>
      <p:pic>
        <p:nvPicPr>
          <p:cNvPr id="5" name="Picture 4" descr="Related image">
            <a:extLst>
              <a:ext uri="{FF2B5EF4-FFF2-40B4-BE49-F238E27FC236}">
                <a16:creationId xmlns:a16="http://schemas.microsoft.com/office/drawing/2014/main" id="{E7132F1B-3AD0-4B92-930D-84D80D09B7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6351" y="1131395"/>
            <a:ext cx="5351463" cy="3303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9798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0AB4-F082-491A-B796-146A16B0F6F7}"/>
              </a:ext>
            </a:extLst>
          </p:cNvPr>
          <p:cNvSpPr>
            <a:spLocks noGrp="1"/>
          </p:cNvSpPr>
          <p:nvPr>
            <p:ph type="title"/>
          </p:nvPr>
        </p:nvSpPr>
        <p:spPr/>
        <p:txBody>
          <a:bodyPr/>
          <a:lstStyle/>
          <a:p>
            <a:endParaRPr lang="en-US" dirty="0"/>
          </a:p>
        </p:txBody>
      </p:sp>
      <p:pic>
        <p:nvPicPr>
          <p:cNvPr id="3" name="EXTPAYS IHC1 2200 Run ExtpayZbaDaily">
            <a:hlinkClick r:id="" action="ppaction://media"/>
            <a:extLst>
              <a:ext uri="{FF2B5EF4-FFF2-40B4-BE49-F238E27FC236}">
                <a16:creationId xmlns:a16="http://schemas.microsoft.com/office/drawing/2014/main" id="{E8EB5A80-DA62-4BC3-992A-EF5F8CFBAA8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732" y="49464"/>
            <a:ext cx="7989164" cy="4468618"/>
          </a:xfrm>
          <a:prstGeom prst="rect">
            <a:avLst/>
          </a:prstGeom>
        </p:spPr>
      </p:pic>
    </p:spTree>
    <p:extLst>
      <p:ext uri="{BB962C8B-B14F-4D97-AF65-F5344CB8AC3E}">
        <p14:creationId xmlns:p14="http://schemas.microsoft.com/office/powerpoint/2010/main" val="274939624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70194-85D3-4473-8A2D-76224E491FF9}"/>
              </a:ext>
            </a:extLst>
          </p:cNvPr>
          <p:cNvSpPr>
            <a:spLocks noGrp="1"/>
          </p:cNvSpPr>
          <p:nvPr>
            <p:ph type="title"/>
          </p:nvPr>
        </p:nvSpPr>
        <p:spPr/>
        <p:txBody>
          <a:bodyPr/>
          <a:lstStyle/>
          <a:p>
            <a:pPr algn="ctr"/>
            <a:r>
              <a:rPr lang="en-US" dirty="0"/>
              <a:t>RPA – Most common challenges</a:t>
            </a:r>
          </a:p>
        </p:txBody>
      </p:sp>
      <p:sp>
        <p:nvSpPr>
          <p:cNvPr id="3" name="TextBox 2">
            <a:extLst>
              <a:ext uri="{FF2B5EF4-FFF2-40B4-BE49-F238E27FC236}">
                <a16:creationId xmlns:a16="http://schemas.microsoft.com/office/drawing/2014/main" id="{34392B6D-D3FF-445A-A347-EA4A8CF414FE}"/>
              </a:ext>
            </a:extLst>
          </p:cNvPr>
          <p:cNvSpPr txBox="1"/>
          <p:nvPr/>
        </p:nvSpPr>
        <p:spPr>
          <a:xfrm>
            <a:off x="139700" y="1352550"/>
            <a:ext cx="4419600" cy="3447098"/>
          </a:xfrm>
          <a:prstGeom prst="rect">
            <a:avLst/>
          </a:prstGeom>
          <a:noFill/>
        </p:spPr>
        <p:txBody>
          <a:bodyPr wrap="square" rtlCol="0">
            <a:spAutoFit/>
          </a:bodyPr>
          <a:lstStyle/>
          <a:p>
            <a:pPr marL="342900" indent="-342900">
              <a:buFont typeface="Wingdings" panose="05000000000000000000" pitchFamily="2" charset="2"/>
              <a:buChar char="Ø"/>
            </a:pPr>
            <a:r>
              <a:rPr lang="en-US" sz="1200" b="1" dirty="0">
                <a:solidFill>
                  <a:schemeClr val="accent1">
                    <a:lumMod val="75000"/>
                  </a:schemeClr>
                </a:solidFill>
              </a:rPr>
              <a:t>Business Case Issues</a:t>
            </a:r>
          </a:p>
          <a:p>
            <a:pPr marL="171450" indent="-17145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Process has to be right</a:t>
            </a:r>
          </a:p>
          <a:p>
            <a:pPr marL="171450" indent="-17145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Complexity of the Bot</a:t>
            </a:r>
          </a:p>
          <a:p>
            <a:pPr marL="342900" indent="-34290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Skills of the implementation team</a:t>
            </a:r>
          </a:p>
          <a:p>
            <a:pPr marL="342900" indent="-34290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Cost consideration – RPA is expensive</a:t>
            </a:r>
          </a:p>
          <a:p>
            <a:pPr marL="342900" indent="-34290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Incorrect Solution for the process</a:t>
            </a:r>
          </a:p>
          <a:p>
            <a:pPr marL="342900" indent="-34290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Post-Implementation Adoption</a:t>
            </a:r>
          </a:p>
          <a:p>
            <a:pPr marL="342900" indent="-34290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RPA Maintenance</a:t>
            </a:r>
          </a:p>
          <a:p>
            <a:pPr marL="342900" indent="-342900">
              <a:buFont typeface="Wingdings" panose="05000000000000000000" pitchFamily="2" charset="2"/>
              <a:buChar char="Ø"/>
            </a:pPr>
            <a:endParaRPr lang="en-US" sz="1200" b="1" dirty="0">
              <a:solidFill>
                <a:schemeClr val="accent1">
                  <a:lumMod val="75000"/>
                </a:schemeClr>
              </a:solidFill>
            </a:endParaRPr>
          </a:p>
          <a:p>
            <a:pPr marL="342900" indent="-342900">
              <a:buFont typeface="Wingdings" panose="05000000000000000000" pitchFamily="2" charset="2"/>
              <a:buChar char="Ø"/>
            </a:pPr>
            <a:r>
              <a:rPr lang="en-US" sz="1200" b="1" dirty="0">
                <a:solidFill>
                  <a:schemeClr val="accent1">
                    <a:lumMod val="75000"/>
                  </a:schemeClr>
                </a:solidFill>
              </a:rPr>
              <a:t>Audit Concerns</a:t>
            </a:r>
          </a:p>
          <a:p>
            <a:pPr marL="342900" indent="-342900">
              <a:buAutoNum type="arabicPeriod"/>
            </a:pPr>
            <a:endParaRPr lang="en-US" sz="1400" b="1" dirty="0"/>
          </a:p>
        </p:txBody>
      </p:sp>
      <p:pic>
        <p:nvPicPr>
          <p:cNvPr id="43012" name="Picture 4" descr="Related image">
            <a:extLst>
              <a:ext uri="{FF2B5EF4-FFF2-40B4-BE49-F238E27FC236}">
                <a16:creationId xmlns:a16="http://schemas.microsoft.com/office/drawing/2014/main" id="{0D035DAE-EA7E-4CBA-9441-5807C9637A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0" y="1154556"/>
            <a:ext cx="5351463" cy="3303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86967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94AC9-F6C2-4E15-B715-85E2E971B16D}"/>
              </a:ext>
            </a:extLst>
          </p:cNvPr>
          <p:cNvSpPr>
            <a:spLocks noGrp="1"/>
          </p:cNvSpPr>
          <p:nvPr>
            <p:ph type="title"/>
          </p:nvPr>
        </p:nvSpPr>
        <p:spPr/>
        <p:txBody>
          <a:bodyPr/>
          <a:lstStyle/>
          <a:p>
            <a:pPr algn="ctr"/>
            <a:r>
              <a:rPr lang="en-US" dirty="0"/>
              <a:t>AI – artificial intelligence</a:t>
            </a:r>
          </a:p>
        </p:txBody>
      </p:sp>
      <p:sp>
        <p:nvSpPr>
          <p:cNvPr id="3" name="TextBox 2">
            <a:extLst>
              <a:ext uri="{FF2B5EF4-FFF2-40B4-BE49-F238E27FC236}">
                <a16:creationId xmlns:a16="http://schemas.microsoft.com/office/drawing/2014/main" id="{2E441603-DE54-4FCE-98E9-2D3FBC021E7C}"/>
              </a:ext>
            </a:extLst>
          </p:cNvPr>
          <p:cNvSpPr txBox="1"/>
          <p:nvPr/>
        </p:nvSpPr>
        <p:spPr>
          <a:xfrm>
            <a:off x="228600" y="1200150"/>
            <a:ext cx="3962400" cy="3647152"/>
          </a:xfrm>
          <a:prstGeom prst="rect">
            <a:avLst/>
          </a:prstGeom>
          <a:noFill/>
        </p:spPr>
        <p:txBody>
          <a:bodyPr wrap="square" rtlCol="0">
            <a:spAutoFit/>
          </a:bodyPr>
          <a:lstStyle/>
          <a:p>
            <a:r>
              <a:rPr lang="en-US" sz="1100" b="1" dirty="0">
                <a:solidFill>
                  <a:schemeClr val="accent1">
                    <a:lumMod val="75000"/>
                  </a:schemeClr>
                </a:solidFill>
              </a:rPr>
              <a:t>SAP Cash Application to be implemented</a:t>
            </a:r>
          </a:p>
          <a:p>
            <a:endParaRPr lang="en-US" sz="1100" b="1" dirty="0">
              <a:solidFill>
                <a:schemeClr val="accent1">
                  <a:lumMod val="75000"/>
                </a:schemeClr>
              </a:solidFill>
            </a:endParaRPr>
          </a:p>
          <a:p>
            <a:r>
              <a:rPr lang="en-US" sz="1100" b="1" dirty="0">
                <a:solidFill>
                  <a:schemeClr val="accent1">
                    <a:lumMod val="75000"/>
                  </a:schemeClr>
                </a:solidFill>
                <a:sym typeface="Wingdings" panose="05000000000000000000" pitchFamily="2" charset="2"/>
              </a:rPr>
              <a:t> </a:t>
            </a:r>
            <a:r>
              <a:rPr lang="en-US" sz="1100" b="1" dirty="0">
                <a:solidFill>
                  <a:schemeClr val="accent1">
                    <a:lumMod val="75000"/>
                  </a:schemeClr>
                </a:solidFill>
              </a:rPr>
              <a:t>Recognition rate for cash application to be improved from 60% to 95%</a:t>
            </a:r>
          </a:p>
          <a:p>
            <a:endParaRPr lang="en-US" sz="1100" b="1" dirty="0">
              <a:solidFill>
                <a:schemeClr val="accent1">
                  <a:lumMod val="75000"/>
                </a:schemeClr>
              </a:solidFill>
            </a:endParaRPr>
          </a:p>
          <a:p>
            <a:endParaRPr lang="en-US" sz="1100" b="1" dirty="0">
              <a:solidFill>
                <a:schemeClr val="accent1">
                  <a:lumMod val="75000"/>
                </a:schemeClr>
              </a:solidFill>
            </a:endParaRPr>
          </a:p>
          <a:p>
            <a:pPr marL="171450" indent="-171450">
              <a:buFont typeface="Wingdings" panose="05000000000000000000" pitchFamily="2" charset="2"/>
              <a:buChar char="Ø"/>
            </a:pPr>
            <a:r>
              <a:rPr lang="en-US" sz="1100" b="1" dirty="0">
                <a:solidFill>
                  <a:schemeClr val="accent1">
                    <a:lumMod val="75000"/>
                  </a:schemeClr>
                </a:solidFill>
              </a:rPr>
              <a:t>Project got delayed due to insufficient readiness of the application from SAP to implement. Will be implemented during upgrade to S4HANA.</a:t>
            </a:r>
          </a:p>
          <a:p>
            <a:pPr marL="171450" indent="-171450">
              <a:buFont typeface="Wingdings" panose="05000000000000000000" pitchFamily="2" charset="2"/>
              <a:buChar char="Ø"/>
            </a:pPr>
            <a:endParaRPr lang="en-US" sz="1100" b="1" dirty="0">
              <a:solidFill>
                <a:schemeClr val="accent1">
                  <a:lumMod val="75000"/>
                </a:schemeClr>
              </a:solidFill>
            </a:endParaRPr>
          </a:p>
          <a:p>
            <a:pPr marL="171450" indent="-171450">
              <a:buFont typeface="Wingdings" panose="05000000000000000000" pitchFamily="2" charset="2"/>
              <a:buChar char="Ø"/>
            </a:pPr>
            <a:endParaRPr lang="en-US" sz="1100" b="1" dirty="0">
              <a:solidFill>
                <a:schemeClr val="accent1">
                  <a:lumMod val="75000"/>
                </a:schemeClr>
              </a:solidFill>
            </a:endParaRPr>
          </a:p>
          <a:p>
            <a:pPr marL="171450" indent="-171450">
              <a:buFont typeface="Wingdings" panose="05000000000000000000" pitchFamily="2" charset="2"/>
              <a:buChar char="Ø"/>
            </a:pPr>
            <a:r>
              <a:rPr lang="en-US" sz="1100" b="1" dirty="0">
                <a:solidFill>
                  <a:schemeClr val="accent1">
                    <a:lumMod val="75000"/>
                  </a:schemeClr>
                </a:solidFill>
              </a:rPr>
              <a:t>Amgen forced to extend contract with </a:t>
            </a:r>
            <a:r>
              <a:rPr lang="en-US" sz="1100" b="1" dirty="0" err="1">
                <a:solidFill>
                  <a:schemeClr val="accent1">
                    <a:lumMod val="75000"/>
                  </a:schemeClr>
                </a:solidFill>
              </a:rPr>
              <a:t>HanseOrga</a:t>
            </a:r>
            <a:r>
              <a:rPr lang="en-US" sz="1100" b="1" dirty="0">
                <a:solidFill>
                  <a:schemeClr val="accent1">
                    <a:lumMod val="75000"/>
                  </a:schemeClr>
                </a:solidFill>
              </a:rPr>
              <a:t> for Autobank Upgrade</a:t>
            </a:r>
          </a:p>
          <a:p>
            <a:endParaRPr lang="en-US" sz="1100" b="1" dirty="0"/>
          </a:p>
          <a:p>
            <a:endParaRPr lang="en-US" sz="1100" b="1" dirty="0">
              <a:solidFill>
                <a:srgbClr val="FF0000"/>
              </a:solidFill>
            </a:endParaRPr>
          </a:p>
          <a:p>
            <a:r>
              <a:rPr lang="en-US" sz="1100" b="1" i="1" dirty="0">
                <a:solidFill>
                  <a:srgbClr val="FF0000"/>
                </a:solidFill>
              </a:rPr>
              <a:t>Conclusion: Not always beneficial to be a front runner, timing is important!</a:t>
            </a:r>
          </a:p>
          <a:p>
            <a:endParaRPr lang="en-US" sz="1100" b="1" dirty="0"/>
          </a:p>
          <a:p>
            <a:endParaRPr lang="en-US" sz="1100" b="1" dirty="0"/>
          </a:p>
          <a:p>
            <a:endParaRPr lang="en-US" sz="1100" b="1" dirty="0"/>
          </a:p>
          <a:p>
            <a:endParaRPr lang="en-US" sz="1100" b="1" dirty="0"/>
          </a:p>
        </p:txBody>
      </p:sp>
      <p:pic>
        <p:nvPicPr>
          <p:cNvPr id="4" name="SAP Cash Application Demo">
            <a:hlinkClick r:id="" action="ppaction://media"/>
            <a:extLst>
              <a:ext uri="{FF2B5EF4-FFF2-40B4-BE49-F238E27FC236}">
                <a16:creationId xmlns:a16="http://schemas.microsoft.com/office/drawing/2014/main" id="{C97D90ED-4415-41B7-94E8-1006A038A9C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203700" y="1200150"/>
            <a:ext cx="4669790" cy="2624706"/>
          </a:xfrm>
          <a:prstGeom prst="rect">
            <a:avLst/>
          </a:prstGeom>
        </p:spPr>
      </p:pic>
    </p:spTree>
    <p:extLst>
      <p:ext uri="{BB962C8B-B14F-4D97-AF65-F5344CB8AC3E}">
        <p14:creationId xmlns:p14="http://schemas.microsoft.com/office/powerpoint/2010/main" val="451861390"/>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3DC70-E823-46A1-9894-C524A9C574DD}"/>
              </a:ext>
            </a:extLst>
          </p:cNvPr>
          <p:cNvSpPr>
            <a:spLocks noGrp="1"/>
          </p:cNvSpPr>
          <p:nvPr>
            <p:ph type="title"/>
          </p:nvPr>
        </p:nvSpPr>
        <p:spPr/>
        <p:txBody>
          <a:bodyPr/>
          <a:lstStyle/>
          <a:p>
            <a:pPr algn="ctr"/>
            <a:r>
              <a:rPr lang="en-US" dirty="0"/>
              <a:t>Funding and management buy-in</a:t>
            </a:r>
          </a:p>
        </p:txBody>
      </p:sp>
      <p:sp>
        <p:nvSpPr>
          <p:cNvPr id="3" name="TextBox 2">
            <a:extLst>
              <a:ext uri="{FF2B5EF4-FFF2-40B4-BE49-F238E27FC236}">
                <a16:creationId xmlns:a16="http://schemas.microsoft.com/office/drawing/2014/main" id="{A99A506A-E149-43EA-B05C-1D89D513CD45}"/>
              </a:ext>
            </a:extLst>
          </p:cNvPr>
          <p:cNvSpPr txBox="1"/>
          <p:nvPr/>
        </p:nvSpPr>
        <p:spPr>
          <a:xfrm>
            <a:off x="152400" y="1200150"/>
            <a:ext cx="3886200" cy="2739211"/>
          </a:xfrm>
          <a:prstGeom prst="rect">
            <a:avLst/>
          </a:prstGeom>
          <a:noFill/>
        </p:spPr>
        <p:txBody>
          <a:bodyPr wrap="square" rtlCol="0">
            <a:spAutoFit/>
          </a:bodyPr>
          <a:lstStyle/>
          <a:p>
            <a:pPr marL="285750" indent="-285750">
              <a:buFontTx/>
              <a:buChar char="-"/>
            </a:pPr>
            <a:r>
              <a:rPr lang="en-US" sz="1100" b="1" dirty="0">
                <a:solidFill>
                  <a:schemeClr val="accent1">
                    <a:lumMod val="75000"/>
                  </a:schemeClr>
                </a:solidFill>
              </a:rPr>
              <a:t>SAP implementations are costly and complex </a:t>
            </a:r>
            <a:r>
              <a:rPr lang="en-US" sz="1000" b="1" dirty="0">
                <a:solidFill>
                  <a:schemeClr val="accent1">
                    <a:lumMod val="60000"/>
                    <a:lumOff val="40000"/>
                  </a:schemeClr>
                </a:solidFill>
              </a:rPr>
              <a:t>(I.E. BCM implementation costs around USD 300K)</a:t>
            </a:r>
          </a:p>
          <a:p>
            <a:pPr marL="285750" indent="-285750">
              <a:buFontTx/>
              <a:buChar char="-"/>
            </a:pPr>
            <a:r>
              <a:rPr lang="en-US" sz="1100" b="1" dirty="0">
                <a:solidFill>
                  <a:schemeClr val="accent1">
                    <a:lumMod val="75000"/>
                  </a:schemeClr>
                </a:solidFill>
              </a:rPr>
              <a:t>Bots are expensive and maintenance as well </a:t>
            </a:r>
            <a:r>
              <a:rPr lang="en-US" sz="1000" b="1" dirty="0">
                <a:solidFill>
                  <a:schemeClr val="accent1">
                    <a:lumMod val="60000"/>
                    <a:lumOff val="40000"/>
                  </a:schemeClr>
                </a:solidFill>
              </a:rPr>
              <a:t>(maintenance only is EUR 15K/year)</a:t>
            </a:r>
          </a:p>
          <a:p>
            <a:pPr marL="285750" indent="-285750">
              <a:buFontTx/>
              <a:buChar char="-"/>
            </a:pPr>
            <a:r>
              <a:rPr lang="en-US" sz="1100" b="1" dirty="0">
                <a:solidFill>
                  <a:schemeClr val="accent1">
                    <a:lumMod val="75000"/>
                  </a:schemeClr>
                </a:solidFill>
              </a:rPr>
              <a:t>100% treasury employee involvement from start is key</a:t>
            </a:r>
          </a:p>
          <a:p>
            <a:pPr marL="285750" indent="-285750">
              <a:buFontTx/>
              <a:buChar char="-"/>
            </a:pPr>
            <a:endParaRPr lang="en-US" sz="1100" b="1" dirty="0">
              <a:solidFill>
                <a:schemeClr val="accent1">
                  <a:lumMod val="75000"/>
                </a:schemeClr>
              </a:solidFill>
            </a:endParaRPr>
          </a:p>
          <a:p>
            <a:r>
              <a:rPr lang="en-US" sz="1100" b="1" i="1" dirty="0">
                <a:solidFill>
                  <a:schemeClr val="accent1">
                    <a:lumMod val="75000"/>
                  </a:schemeClr>
                </a:solidFill>
              </a:rPr>
              <a:t>How to get management buy-in for the funding and implementation of the project?</a:t>
            </a:r>
          </a:p>
          <a:p>
            <a:endParaRPr lang="en-US" sz="1100" b="1" dirty="0">
              <a:solidFill>
                <a:schemeClr val="accent1">
                  <a:lumMod val="75000"/>
                </a:schemeClr>
              </a:solidFill>
            </a:endParaRPr>
          </a:p>
          <a:p>
            <a:pPr marL="285750" indent="-285750">
              <a:buFontTx/>
              <a:buChar char="-"/>
            </a:pPr>
            <a:r>
              <a:rPr lang="en-US" sz="1100" b="1" dirty="0">
                <a:solidFill>
                  <a:schemeClr val="accent1">
                    <a:lumMod val="75000"/>
                  </a:schemeClr>
                </a:solidFill>
              </a:rPr>
              <a:t>Implement a quick-win</a:t>
            </a:r>
          </a:p>
          <a:p>
            <a:endParaRPr lang="en-US" sz="1100" b="1" dirty="0">
              <a:solidFill>
                <a:schemeClr val="accent1">
                  <a:lumMod val="75000"/>
                </a:schemeClr>
              </a:solidFill>
            </a:endParaRPr>
          </a:p>
          <a:p>
            <a:pPr marL="285750" indent="-285750">
              <a:buFontTx/>
              <a:buChar char="-"/>
            </a:pPr>
            <a:r>
              <a:rPr lang="en-US" sz="1100" b="1" dirty="0">
                <a:solidFill>
                  <a:schemeClr val="accent1">
                    <a:lumMod val="75000"/>
                  </a:schemeClr>
                </a:solidFill>
              </a:rPr>
              <a:t>Highlight </a:t>
            </a:r>
            <a:r>
              <a:rPr lang="en-US" sz="1000" b="1" dirty="0">
                <a:solidFill>
                  <a:schemeClr val="accent1">
                    <a:lumMod val="60000"/>
                    <a:lumOff val="40000"/>
                  </a:schemeClr>
                </a:solidFill>
              </a:rPr>
              <a:t>(cost of manual error, possibility of fraud, employee motivation etc.)</a:t>
            </a:r>
          </a:p>
          <a:p>
            <a:pPr marL="285750" indent="-285750">
              <a:buFontTx/>
              <a:buChar char="-"/>
            </a:pPr>
            <a:endParaRPr lang="en-US" sz="1000" b="1" dirty="0">
              <a:solidFill>
                <a:schemeClr val="accent1">
                  <a:lumMod val="60000"/>
                  <a:lumOff val="40000"/>
                </a:schemeClr>
              </a:solidFill>
            </a:endParaRPr>
          </a:p>
          <a:p>
            <a:pPr marL="285750" indent="-285750">
              <a:buFontTx/>
              <a:buChar char="-"/>
            </a:pPr>
            <a:r>
              <a:rPr lang="en-US" sz="1100" b="1" dirty="0">
                <a:solidFill>
                  <a:schemeClr val="accent1">
                    <a:lumMod val="75000"/>
                  </a:schemeClr>
                </a:solidFill>
              </a:rPr>
              <a:t>Management (avoid future surprises)</a:t>
            </a:r>
          </a:p>
        </p:txBody>
      </p:sp>
      <p:pic>
        <p:nvPicPr>
          <p:cNvPr id="5" name="Picture 4">
            <a:extLst>
              <a:ext uri="{FF2B5EF4-FFF2-40B4-BE49-F238E27FC236}">
                <a16:creationId xmlns:a16="http://schemas.microsoft.com/office/drawing/2014/main" id="{1161DB91-1BE3-4823-907E-D83C38BF18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6200" y="1198855"/>
            <a:ext cx="5135999" cy="3294807"/>
          </a:xfrm>
          <a:prstGeom prst="rect">
            <a:avLst/>
          </a:prstGeom>
        </p:spPr>
      </p:pic>
    </p:spTree>
    <p:extLst>
      <p:ext uri="{BB962C8B-B14F-4D97-AF65-F5344CB8AC3E}">
        <p14:creationId xmlns:p14="http://schemas.microsoft.com/office/powerpoint/2010/main" val="38092686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C3DAF-882D-4650-8C14-47155A316586}"/>
              </a:ext>
            </a:extLst>
          </p:cNvPr>
          <p:cNvSpPr>
            <a:spLocks noGrp="1"/>
          </p:cNvSpPr>
          <p:nvPr>
            <p:ph type="title"/>
          </p:nvPr>
        </p:nvSpPr>
        <p:spPr/>
        <p:txBody>
          <a:bodyPr/>
          <a:lstStyle/>
          <a:p>
            <a:pPr algn="ctr"/>
            <a:r>
              <a:rPr lang="en-US" dirty="0"/>
              <a:t>Timing of implementation</a:t>
            </a:r>
          </a:p>
        </p:txBody>
      </p:sp>
      <p:sp>
        <p:nvSpPr>
          <p:cNvPr id="3" name="TextBox 2">
            <a:extLst>
              <a:ext uri="{FF2B5EF4-FFF2-40B4-BE49-F238E27FC236}">
                <a16:creationId xmlns:a16="http://schemas.microsoft.com/office/drawing/2014/main" id="{31AA025E-88C0-4E4D-A03C-F20571F6564C}"/>
              </a:ext>
            </a:extLst>
          </p:cNvPr>
          <p:cNvSpPr txBox="1"/>
          <p:nvPr/>
        </p:nvSpPr>
        <p:spPr>
          <a:xfrm>
            <a:off x="152400" y="1200150"/>
            <a:ext cx="4343400" cy="3154710"/>
          </a:xfrm>
          <a:prstGeom prst="rect">
            <a:avLst/>
          </a:prstGeom>
          <a:noFill/>
        </p:spPr>
        <p:txBody>
          <a:bodyPr wrap="square" rtlCol="0">
            <a:spAutoFit/>
          </a:bodyPr>
          <a:lstStyle/>
          <a:p>
            <a:r>
              <a:rPr lang="en-US" sz="1100" b="1" dirty="0">
                <a:solidFill>
                  <a:schemeClr val="accent1">
                    <a:lumMod val="75000"/>
                  </a:schemeClr>
                </a:solidFill>
              </a:rPr>
              <a:t>Questions to answer:</a:t>
            </a:r>
          </a:p>
          <a:p>
            <a:endParaRPr lang="en-US" sz="1100" b="1" dirty="0">
              <a:solidFill>
                <a:schemeClr val="accent1">
                  <a:lumMod val="75000"/>
                </a:schemeClr>
              </a:solidFill>
            </a:endParaRPr>
          </a:p>
          <a:p>
            <a:pPr marL="285750" indent="-285750">
              <a:buFontTx/>
              <a:buChar char="-"/>
            </a:pPr>
            <a:r>
              <a:rPr lang="en-US" sz="1100" b="1" dirty="0">
                <a:solidFill>
                  <a:schemeClr val="accent1">
                    <a:lumMod val="75000"/>
                  </a:schemeClr>
                </a:solidFill>
              </a:rPr>
              <a:t>Big bang or one process at the time? </a:t>
            </a:r>
          </a:p>
          <a:p>
            <a:endParaRPr lang="en-US" sz="1100" b="1" dirty="0">
              <a:solidFill>
                <a:schemeClr val="accent1">
                  <a:lumMod val="75000"/>
                </a:schemeClr>
              </a:solidFill>
            </a:endParaRPr>
          </a:p>
          <a:p>
            <a:pPr marL="285750" indent="-285750">
              <a:buFontTx/>
              <a:buChar char="-"/>
            </a:pPr>
            <a:r>
              <a:rPr lang="en-US" sz="1100" b="1" dirty="0">
                <a:solidFill>
                  <a:schemeClr val="accent1">
                    <a:lumMod val="75000"/>
                  </a:schemeClr>
                </a:solidFill>
              </a:rPr>
              <a:t>Is it the right time to implement?</a:t>
            </a:r>
          </a:p>
          <a:p>
            <a:pPr marL="285750" indent="-285750">
              <a:buFontTx/>
              <a:buChar char="-"/>
            </a:pPr>
            <a:endParaRPr lang="en-US" sz="1100" b="1" dirty="0">
              <a:solidFill>
                <a:schemeClr val="accent1">
                  <a:lumMod val="75000"/>
                </a:schemeClr>
              </a:solidFill>
            </a:endParaRPr>
          </a:p>
          <a:p>
            <a:pPr marL="285750" indent="-285750">
              <a:buFontTx/>
              <a:buChar char="-"/>
            </a:pPr>
            <a:r>
              <a:rPr lang="en-US" sz="1100" b="1" dirty="0">
                <a:solidFill>
                  <a:schemeClr val="accent1">
                    <a:lumMod val="75000"/>
                  </a:schemeClr>
                </a:solidFill>
              </a:rPr>
              <a:t>Is the technology ready today to meet our requirements?</a:t>
            </a:r>
          </a:p>
          <a:p>
            <a:r>
              <a:rPr lang="en-US" sz="1100" b="1" dirty="0">
                <a:solidFill>
                  <a:schemeClr val="accent1">
                    <a:lumMod val="75000"/>
                  </a:schemeClr>
                </a:solidFill>
              </a:rPr>
              <a:t> </a:t>
            </a:r>
          </a:p>
          <a:p>
            <a:pPr marL="285750" indent="-285750">
              <a:buFontTx/>
              <a:buChar char="-"/>
            </a:pPr>
            <a:r>
              <a:rPr lang="en-US" sz="1100" b="1" dirty="0">
                <a:solidFill>
                  <a:schemeClr val="accent1">
                    <a:lumMod val="75000"/>
                  </a:schemeClr>
                </a:solidFill>
              </a:rPr>
              <a:t>Do we have enough FTE available for implementation?</a:t>
            </a:r>
          </a:p>
          <a:p>
            <a:endParaRPr lang="en-US" sz="1100" b="1" dirty="0">
              <a:solidFill>
                <a:schemeClr val="accent1">
                  <a:lumMod val="75000"/>
                </a:schemeClr>
              </a:solidFill>
            </a:endParaRPr>
          </a:p>
          <a:p>
            <a:pPr marL="285750" indent="-285750">
              <a:buFontTx/>
              <a:buChar char="-"/>
            </a:pPr>
            <a:r>
              <a:rPr lang="en-US" sz="1100" b="1" dirty="0">
                <a:solidFill>
                  <a:schemeClr val="accent1">
                    <a:lumMod val="75000"/>
                  </a:schemeClr>
                </a:solidFill>
              </a:rPr>
              <a:t>How long will the implementation time be including unexpected error allowance? </a:t>
            </a:r>
          </a:p>
          <a:p>
            <a:pPr marL="285750" indent="-285750">
              <a:buFontTx/>
              <a:buChar char="-"/>
            </a:pPr>
            <a:endParaRPr lang="en-US" sz="1100" b="1" dirty="0">
              <a:solidFill>
                <a:schemeClr val="accent1">
                  <a:lumMod val="75000"/>
                </a:schemeClr>
              </a:solidFill>
            </a:endParaRPr>
          </a:p>
          <a:p>
            <a:endParaRPr lang="en-US" sz="1400" b="1" dirty="0"/>
          </a:p>
          <a:p>
            <a:endParaRPr lang="en-US" sz="1400" b="1" dirty="0"/>
          </a:p>
          <a:p>
            <a:endParaRPr lang="en-US" sz="1400" b="1" dirty="0"/>
          </a:p>
          <a:p>
            <a:pPr marL="285750" indent="-285750">
              <a:buFontTx/>
              <a:buChar char="-"/>
            </a:pPr>
            <a:endParaRPr lang="en-US" sz="1400" b="1" dirty="0"/>
          </a:p>
        </p:txBody>
      </p:sp>
      <p:pic>
        <p:nvPicPr>
          <p:cNvPr id="5" name="Picture 4">
            <a:extLst>
              <a:ext uri="{FF2B5EF4-FFF2-40B4-BE49-F238E27FC236}">
                <a16:creationId xmlns:a16="http://schemas.microsoft.com/office/drawing/2014/main" id="{D1F126AC-AF0E-4533-A923-DE66D39165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1479556"/>
            <a:ext cx="4304745" cy="2687841"/>
          </a:xfrm>
          <a:prstGeom prst="rect">
            <a:avLst/>
          </a:prstGeom>
        </p:spPr>
      </p:pic>
    </p:spTree>
    <p:extLst>
      <p:ext uri="{BB962C8B-B14F-4D97-AF65-F5344CB8AC3E}">
        <p14:creationId xmlns:p14="http://schemas.microsoft.com/office/powerpoint/2010/main" val="19407542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6BEBA-280B-47A9-82D9-4EACBA50D25F}"/>
              </a:ext>
            </a:extLst>
          </p:cNvPr>
          <p:cNvSpPr>
            <a:spLocks noGrp="1"/>
          </p:cNvSpPr>
          <p:nvPr>
            <p:ph type="title"/>
          </p:nvPr>
        </p:nvSpPr>
        <p:spPr>
          <a:xfrm>
            <a:off x="29570" y="193943"/>
            <a:ext cx="8416925" cy="492443"/>
          </a:xfrm>
        </p:spPr>
        <p:txBody>
          <a:bodyPr/>
          <a:lstStyle/>
          <a:p>
            <a:r>
              <a:rPr lang="en-US" dirty="0"/>
              <a:t>WHO and what skill set is required</a:t>
            </a:r>
          </a:p>
        </p:txBody>
      </p:sp>
      <p:graphicFrame>
        <p:nvGraphicFramePr>
          <p:cNvPr id="3" name="Diagram 2">
            <a:extLst>
              <a:ext uri="{FF2B5EF4-FFF2-40B4-BE49-F238E27FC236}">
                <a16:creationId xmlns:a16="http://schemas.microsoft.com/office/drawing/2014/main" id="{B3B9BFEB-2FDA-4BCF-9FE8-D5B577A7F5E3}"/>
              </a:ext>
            </a:extLst>
          </p:cNvPr>
          <p:cNvGraphicFramePr/>
          <p:nvPr>
            <p:extLst>
              <p:ext uri="{D42A27DB-BD31-4B8C-83A1-F6EECF244321}">
                <p14:modId xmlns:p14="http://schemas.microsoft.com/office/powerpoint/2010/main" val="678248061"/>
              </p:ext>
            </p:extLst>
          </p:nvPr>
        </p:nvGraphicFramePr>
        <p:xfrm>
          <a:off x="1429603" y="590550"/>
          <a:ext cx="5809397" cy="375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allout: Up Arrow 5">
            <a:extLst>
              <a:ext uri="{FF2B5EF4-FFF2-40B4-BE49-F238E27FC236}">
                <a16:creationId xmlns:a16="http://schemas.microsoft.com/office/drawing/2014/main" id="{67D2F338-9718-4E67-A0F0-D3C4E896381D}"/>
              </a:ext>
            </a:extLst>
          </p:cNvPr>
          <p:cNvSpPr/>
          <p:nvPr/>
        </p:nvSpPr>
        <p:spPr>
          <a:xfrm>
            <a:off x="1254457" y="3312425"/>
            <a:ext cx="1295400" cy="1524000"/>
          </a:xfrm>
          <a:prstGeom prst="upArrowCallo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IT specialist</a:t>
            </a:r>
          </a:p>
          <a:p>
            <a:pPr algn="ctr"/>
            <a:r>
              <a:rPr lang="en-US" sz="900" b="1" dirty="0">
                <a:solidFill>
                  <a:schemeClr val="bg1"/>
                </a:solidFill>
              </a:rPr>
              <a:t>Treasury Specialist</a:t>
            </a:r>
          </a:p>
          <a:p>
            <a:pPr algn="ctr"/>
            <a:r>
              <a:rPr lang="en-US" sz="900" b="1" dirty="0">
                <a:solidFill>
                  <a:schemeClr val="bg1"/>
                </a:solidFill>
              </a:rPr>
              <a:t>Project Manager</a:t>
            </a:r>
          </a:p>
          <a:p>
            <a:pPr algn="ctr"/>
            <a:r>
              <a:rPr lang="en-US" sz="900" b="1" dirty="0">
                <a:solidFill>
                  <a:schemeClr val="bg1"/>
                </a:solidFill>
              </a:rPr>
              <a:t>Management </a:t>
            </a:r>
            <a:r>
              <a:rPr lang="en-US" sz="900" b="1" dirty="0">
                <a:solidFill>
                  <a:schemeClr val="bg1">
                    <a:lumMod val="75000"/>
                  </a:schemeClr>
                </a:solidFill>
              </a:rPr>
              <a:t>Business User</a:t>
            </a:r>
          </a:p>
        </p:txBody>
      </p:sp>
      <p:sp>
        <p:nvSpPr>
          <p:cNvPr id="7" name="Callout: Up Arrow 6">
            <a:extLst>
              <a:ext uri="{FF2B5EF4-FFF2-40B4-BE49-F238E27FC236}">
                <a16:creationId xmlns:a16="http://schemas.microsoft.com/office/drawing/2014/main" id="{9CC411F9-79F4-4ABF-BD9D-9CB817479064}"/>
              </a:ext>
            </a:extLst>
          </p:cNvPr>
          <p:cNvSpPr/>
          <p:nvPr/>
        </p:nvSpPr>
        <p:spPr>
          <a:xfrm>
            <a:off x="2657167" y="3312425"/>
            <a:ext cx="1143000" cy="1524000"/>
          </a:xfrm>
          <a:prstGeom prst="upArrowCallo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IT specialist</a:t>
            </a:r>
          </a:p>
          <a:p>
            <a:pPr algn="ctr"/>
            <a:r>
              <a:rPr lang="en-US" sz="900" b="1" dirty="0">
                <a:solidFill>
                  <a:schemeClr val="bg1"/>
                </a:solidFill>
              </a:rPr>
              <a:t>Project Manager</a:t>
            </a:r>
          </a:p>
          <a:p>
            <a:pPr algn="ctr"/>
            <a:r>
              <a:rPr lang="en-US" sz="900" b="1" dirty="0">
                <a:solidFill>
                  <a:schemeClr val="bg1"/>
                </a:solidFill>
              </a:rPr>
              <a:t>Treasury System Specialist</a:t>
            </a:r>
          </a:p>
        </p:txBody>
      </p:sp>
      <p:sp>
        <p:nvSpPr>
          <p:cNvPr id="8" name="Callout: Up Arrow 7">
            <a:extLst>
              <a:ext uri="{FF2B5EF4-FFF2-40B4-BE49-F238E27FC236}">
                <a16:creationId xmlns:a16="http://schemas.microsoft.com/office/drawing/2014/main" id="{776925A1-9243-43E6-B807-A89F154E3C6C}"/>
              </a:ext>
            </a:extLst>
          </p:cNvPr>
          <p:cNvSpPr/>
          <p:nvPr/>
        </p:nvSpPr>
        <p:spPr>
          <a:xfrm>
            <a:off x="3897573" y="3312425"/>
            <a:ext cx="1143000" cy="1524000"/>
          </a:xfrm>
          <a:prstGeom prst="upArrowCallo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IT specialist</a:t>
            </a:r>
          </a:p>
          <a:p>
            <a:pPr algn="ctr"/>
            <a:r>
              <a:rPr lang="en-US" sz="900" b="1" dirty="0">
                <a:solidFill>
                  <a:schemeClr val="bg1"/>
                </a:solidFill>
              </a:rPr>
              <a:t>Project Manager</a:t>
            </a:r>
          </a:p>
          <a:p>
            <a:pPr algn="ctr"/>
            <a:r>
              <a:rPr lang="en-US" sz="900" b="1" dirty="0">
                <a:solidFill>
                  <a:schemeClr val="bg1"/>
                </a:solidFill>
              </a:rPr>
              <a:t>Treasury System Specialist</a:t>
            </a:r>
          </a:p>
        </p:txBody>
      </p:sp>
      <p:sp>
        <p:nvSpPr>
          <p:cNvPr id="9" name="Callout: Up Arrow 8">
            <a:extLst>
              <a:ext uri="{FF2B5EF4-FFF2-40B4-BE49-F238E27FC236}">
                <a16:creationId xmlns:a16="http://schemas.microsoft.com/office/drawing/2014/main" id="{0EB934B4-D07D-4A36-8D88-78725810D57A}"/>
              </a:ext>
            </a:extLst>
          </p:cNvPr>
          <p:cNvSpPr/>
          <p:nvPr/>
        </p:nvSpPr>
        <p:spPr>
          <a:xfrm>
            <a:off x="5137979" y="3312425"/>
            <a:ext cx="1263555" cy="1524000"/>
          </a:xfrm>
          <a:prstGeom prst="upArrowCallo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Treasury Specialist</a:t>
            </a:r>
          </a:p>
          <a:p>
            <a:pPr algn="ctr"/>
            <a:r>
              <a:rPr lang="en-US" sz="900" b="1" dirty="0">
                <a:solidFill>
                  <a:schemeClr val="bg1"/>
                </a:solidFill>
              </a:rPr>
              <a:t>Management </a:t>
            </a:r>
            <a:r>
              <a:rPr lang="en-US" sz="900" b="1" dirty="0">
                <a:solidFill>
                  <a:schemeClr val="bg1">
                    <a:lumMod val="75000"/>
                  </a:schemeClr>
                </a:solidFill>
              </a:rPr>
              <a:t>Business User</a:t>
            </a:r>
          </a:p>
        </p:txBody>
      </p:sp>
    </p:spTree>
    <p:extLst>
      <p:ext uri="{BB962C8B-B14F-4D97-AF65-F5344CB8AC3E}">
        <p14:creationId xmlns:p14="http://schemas.microsoft.com/office/powerpoint/2010/main" val="244643619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62D80-3451-46CF-834D-372CFAF51D56}"/>
              </a:ext>
            </a:extLst>
          </p:cNvPr>
          <p:cNvSpPr>
            <a:spLocks noGrp="1"/>
          </p:cNvSpPr>
          <p:nvPr>
            <p:ph type="title"/>
          </p:nvPr>
        </p:nvSpPr>
        <p:spPr/>
        <p:txBody>
          <a:bodyPr/>
          <a:lstStyle/>
          <a:p>
            <a:pPr algn="ctr"/>
            <a:r>
              <a:rPr lang="en-US" dirty="0"/>
              <a:t>Key take </a:t>
            </a:r>
            <a:r>
              <a:rPr lang="en-US" dirty="0" err="1"/>
              <a:t>aways</a:t>
            </a:r>
            <a:endParaRPr lang="en-US" dirty="0"/>
          </a:p>
        </p:txBody>
      </p:sp>
      <p:sp>
        <p:nvSpPr>
          <p:cNvPr id="3" name="TextBox 2">
            <a:extLst>
              <a:ext uri="{FF2B5EF4-FFF2-40B4-BE49-F238E27FC236}">
                <a16:creationId xmlns:a16="http://schemas.microsoft.com/office/drawing/2014/main" id="{B875246A-B6F4-4B98-9C15-613CF1507F7A}"/>
              </a:ext>
            </a:extLst>
          </p:cNvPr>
          <p:cNvSpPr txBox="1"/>
          <p:nvPr/>
        </p:nvSpPr>
        <p:spPr>
          <a:xfrm>
            <a:off x="228600" y="1276350"/>
            <a:ext cx="4724400" cy="2154436"/>
          </a:xfrm>
          <a:prstGeom prst="rect">
            <a:avLst/>
          </a:prstGeom>
          <a:noFill/>
        </p:spPr>
        <p:txBody>
          <a:bodyPr wrap="square" rtlCol="0">
            <a:spAutoFit/>
          </a:bodyPr>
          <a:lstStyle/>
          <a:p>
            <a:pPr marL="285750" indent="-285750">
              <a:buFont typeface="Wingdings" panose="05000000000000000000" pitchFamily="2" charset="2"/>
              <a:buChar char="Ø"/>
            </a:pPr>
            <a:r>
              <a:rPr lang="en-US" sz="1200" b="1" dirty="0">
                <a:solidFill>
                  <a:schemeClr val="accent1">
                    <a:lumMod val="75000"/>
                  </a:schemeClr>
                </a:solidFill>
              </a:rPr>
              <a:t>Management buy-in is key (quick wins and risk analysis for no transformation are helpful)</a:t>
            </a:r>
          </a:p>
          <a:p>
            <a:endParaRPr lang="en-US" sz="1200" b="1" dirty="0">
              <a:solidFill>
                <a:schemeClr val="accent1">
                  <a:lumMod val="75000"/>
                </a:schemeClr>
              </a:solidFill>
            </a:endParaRPr>
          </a:p>
          <a:p>
            <a:pPr marL="285750" indent="-285750">
              <a:buFont typeface="Wingdings" panose="05000000000000000000" pitchFamily="2" charset="2"/>
              <a:buChar char="Ø"/>
            </a:pPr>
            <a:r>
              <a:rPr lang="en-US" sz="1200" b="1" dirty="0">
                <a:solidFill>
                  <a:schemeClr val="accent1">
                    <a:lumMod val="75000"/>
                  </a:schemeClr>
                </a:solidFill>
              </a:rPr>
              <a:t>Sufficient funding and employee availability</a:t>
            </a:r>
          </a:p>
          <a:p>
            <a:endParaRPr lang="en-US" sz="1200" b="1" dirty="0">
              <a:solidFill>
                <a:schemeClr val="accent1">
                  <a:lumMod val="75000"/>
                </a:schemeClr>
              </a:solidFill>
            </a:endParaRPr>
          </a:p>
          <a:p>
            <a:pPr marL="285750" indent="-285750">
              <a:buFont typeface="Wingdings" panose="05000000000000000000" pitchFamily="2" charset="2"/>
              <a:buChar char="Ø"/>
            </a:pPr>
            <a:r>
              <a:rPr lang="en-US" sz="1200" b="1" dirty="0">
                <a:solidFill>
                  <a:schemeClr val="accent1">
                    <a:lumMod val="75000"/>
                  </a:schemeClr>
                </a:solidFill>
              </a:rPr>
              <a:t>Technology selection (involve system experts)</a:t>
            </a:r>
          </a:p>
          <a:p>
            <a:endParaRPr lang="en-US" sz="1200" b="1" dirty="0">
              <a:solidFill>
                <a:schemeClr val="accent1">
                  <a:lumMod val="75000"/>
                </a:schemeClr>
              </a:solidFill>
            </a:endParaRPr>
          </a:p>
          <a:p>
            <a:pPr marL="285750" indent="-285750">
              <a:buFont typeface="Wingdings" panose="05000000000000000000" pitchFamily="2" charset="2"/>
              <a:buChar char="Ø"/>
            </a:pPr>
            <a:r>
              <a:rPr lang="en-US" sz="1200" b="1" dirty="0">
                <a:solidFill>
                  <a:schemeClr val="accent1">
                    <a:lumMod val="75000"/>
                  </a:schemeClr>
                </a:solidFill>
              </a:rPr>
              <a:t>System/technology readiness to transform</a:t>
            </a:r>
          </a:p>
          <a:p>
            <a:pPr marL="285750" indent="-285750">
              <a:buFont typeface="Wingdings" panose="05000000000000000000" pitchFamily="2" charset="2"/>
              <a:buChar char="Ø"/>
            </a:pPr>
            <a:endParaRPr lang="en-US" sz="1200" b="1" dirty="0">
              <a:solidFill>
                <a:schemeClr val="accent1">
                  <a:lumMod val="75000"/>
                </a:schemeClr>
              </a:solidFill>
            </a:endParaRPr>
          </a:p>
          <a:p>
            <a:pPr marL="285750" indent="-285750">
              <a:buFont typeface="Wingdings" panose="05000000000000000000" pitchFamily="2" charset="2"/>
              <a:buChar char="Ø"/>
            </a:pPr>
            <a:r>
              <a:rPr lang="en-US" sz="1200" b="1" dirty="0">
                <a:solidFill>
                  <a:schemeClr val="accent1">
                    <a:lumMod val="75000"/>
                  </a:schemeClr>
                </a:solidFill>
              </a:rPr>
              <a:t>Don’t underestimate implementation time</a:t>
            </a:r>
          </a:p>
          <a:p>
            <a:pPr marL="285750" indent="-285750">
              <a:buFont typeface="Wingdings" panose="05000000000000000000" pitchFamily="2" charset="2"/>
              <a:buChar char="Ø"/>
            </a:pPr>
            <a:endParaRPr lang="en-US" sz="1400" b="1" dirty="0"/>
          </a:p>
        </p:txBody>
      </p:sp>
    </p:spTree>
    <p:extLst>
      <p:ext uri="{BB962C8B-B14F-4D97-AF65-F5344CB8AC3E}">
        <p14:creationId xmlns:p14="http://schemas.microsoft.com/office/powerpoint/2010/main" val="8403454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t="6250" b="6250"/>
          <a:stretch>
            <a:fillRect/>
          </a:stretch>
        </p:blipFill>
        <p:spPr/>
      </p:pic>
      <p:sp>
        <p:nvSpPr>
          <p:cNvPr id="3" name="Title 2"/>
          <p:cNvSpPr>
            <a:spLocks noGrp="1"/>
          </p:cNvSpPr>
          <p:nvPr>
            <p:ph type="title"/>
          </p:nvPr>
        </p:nvSpPr>
        <p:spPr>
          <a:xfrm>
            <a:off x="989556" y="1743075"/>
            <a:ext cx="7023380" cy="514350"/>
          </a:xfrm>
        </p:spPr>
        <p:txBody>
          <a:bodyPr/>
          <a:lstStyle/>
          <a:p>
            <a:pPr algn="ctr"/>
            <a:r>
              <a:rPr lang="en-US" sz="4400" dirty="0"/>
              <a:t>Thank you</a:t>
            </a:r>
            <a:br>
              <a:rPr lang="en-US" sz="4400" dirty="0"/>
            </a:br>
            <a:endParaRPr lang="en-US" sz="1800" dirty="0"/>
          </a:p>
        </p:txBody>
      </p:sp>
    </p:spTree>
    <p:extLst>
      <p:ext uri="{BB962C8B-B14F-4D97-AF65-F5344CB8AC3E}">
        <p14:creationId xmlns:p14="http://schemas.microsoft.com/office/powerpoint/2010/main" val="2928122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00" dirty="0"/>
              <a:t>Agenda</a:t>
            </a:r>
          </a:p>
        </p:txBody>
      </p:sp>
      <p:sp>
        <p:nvSpPr>
          <p:cNvPr id="2" name="TextBox 1">
            <a:extLst>
              <a:ext uri="{FF2B5EF4-FFF2-40B4-BE49-F238E27FC236}">
                <a16:creationId xmlns:a16="http://schemas.microsoft.com/office/drawing/2014/main" id="{75FD9B29-CBFB-451E-BA62-6EA1A54214FA}"/>
              </a:ext>
            </a:extLst>
          </p:cNvPr>
          <p:cNvSpPr txBox="1"/>
          <p:nvPr/>
        </p:nvSpPr>
        <p:spPr>
          <a:xfrm>
            <a:off x="363538" y="1123950"/>
            <a:ext cx="4343400" cy="4078039"/>
          </a:xfrm>
          <a:prstGeom prst="rect">
            <a:avLst/>
          </a:prstGeom>
          <a:noFill/>
        </p:spPr>
        <p:txBody>
          <a:bodyPr wrap="square" rtlCol="0">
            <a:spAutoFit/>
          </a:bodyPr>
          <a:lstStyle/>
          <a:p>
            <a:r>
              <a:rPr lang="en-US" sz="1100" b="1" dirty="0">
                <a:solidFill>
                  <a:schemeClr val="accent1">
                    <a:lumMod val="75000"/>
                  </a:schemeClr>
                </a:solidFill>
              </a:rPr>
              <a:t>Introduction to Amgen</a:t>
            </a:r>
          </a:p>
          <a:p>
            <a:endParaRPr lang="en-US" sz="1100" b="1" dirty="0">
              <a:solidFill>
                <a:schemeClr val="accent1">
                  <a:lumMod val="75000"/>
                </a:schemeClr>
              </a:solidFill>
            </a:endParaRPr>
          </a:p>
          <a:p>
            <a:r>
              <a:rPr lang="en-US" sz="1100" b="1" dirty="0">
                <a:solidFill>
                  <a:schemeClr val="accent1">
                    <a:lumMod val="75000"/>
                  </a:schemeClr>
                </a:solidFill>
              </a:rPr>
              <a:t>Amgen Treasury Organization</a:t>
            </a:r>
          </a:p>
          <a:p>
            <a:endParaRPr lang="en-US" sz="1100" b="1" dirty="0">
              <a:solidFill>
                <a:schemeClr val="accent1">
                  <a:lumMod val="75000"/>
                </a:schemeClr>
              </a:solidFill>
            </a:endParaRPr>
          </a:p>
          <a:p>
            <a:r>
              <a:rPr lang="en-US" sz="1100" b="1" dirty="0">
                <a:solidFill>
                  <a:schemeClr val="accent1">
                    <a:lumMod val="75000"/>
                  </a:schemeClr>
                </a:solidFill>
              </a:rPr>
              <a:t>Digital Transformation Strategy</a:t>
            </a:r>
          </a:p>
          <a:p>
            <a:endParaRPr lang="en-US" sz="1100" b="1" dirty="0">
              <a:solidFill>
                <a:schemeClr val="accent1">
                  <a:lumMod val="75000"/>
                </a:schemeClr>
              </a:solidFill>
            </a:endParaRPr>
          </a:p>
          <a:p>
            <a:r>
              <a:rPr lang="en-US" sz="1100" b="1" dirty="0">
                <a:solidFill>
                  <a:schemeClr val="accent1">
                    <a:lumMod val="75000"/>
                  </a:schemeClr>
                </a:solidFill>
              </a:rPr>
              <a:t>Treasury Current System Landscape</a:t>
            </a:r>
          </a:p>
          <a:p>
            <a:endParaRPr lang="en-US" sz="1100" b="1" dirty="0">
              <a:solidFill>
                <a:schemeClr val="accent1">
                  <a:lumMod val="75000"/>
                </a:schemeClr>
              </a:solidFill>
            </a:endParaRPr>
          </a:p>
          <a:p>
            <a:r>
              <a:rPr lang="en-US" sz="1100" b="1" dirty="0">
                <a:solidFill>
                  <a:schemeClr val="accent1">
                    <a:lumMod val="75000"/>
                  </a:schemeClr>
                </a:solidFill>
              </a:rPr>
              <a:t>Treasury Future System Landscape</a:t>
            </a:r>
          </a:p>
          <a:p>
            <a:endParaRPr lang="en-US" sz="1100" b="1" dirty="0">
              <a:solidFill>
                <a:schemeClr val="accent1">
                  <a:lumMod val="75000"/>
                </a:schemeClr>
              </a:solidFill>
            </a:endParaRPr>
          </a:p>
          <a:p>
            <a:r>
              <a:rPr lang="en-US" sz="1100" b="1" dirty="0">
                <a:solidFill>
                  <a:schemeClr val="accent1">
                    <a:lumMod val="75000"/>
                  </a:schemeClr>
                </a:solidFill>
              </a:rPr>
              <a:t>Robotics</a:t>
            </a:r>
          </a:p>
          <a:p>
            <a:endParaRPr lang="en-US" sz="1100" b="1" dirty="0">
              <a:solidFill>
                <a:schemeClr val="accent1">
                  <a:lumMod val="75000"/>
                </a:schemeClr>
              </a:solidFill>
            </a:endParaRPr>
          </a:p>
          <a:p>
            <a:r>
              <a:rPr lang="en-US" sz="1100" b="1" dirty="0">
                <a:solidFill>
                  <a:schemeClr val="accent1">
                    <a:lumMod val="75000"/>
                  </a:schemeClr>
                </a:solidFill>
              </a:rPr>
              <a:t>AI</a:t>
            </a:r>
          </a:p>
          <a:p>
            <a:endParaRPr lang="en-US" sz="1100" b="1" dirty="0">
              <a:solidFill>
                <a:schemeClr val="accent1">
                  <a:lumMod val="75000"/>
                </a:schemeClr>
              </a:solidFill>
            </a:endParaRPr>
          </a:p>
          <a:p>
            <a:r>
              <a:rPr lang="en-US" sz="1100" b="1" dirty="0">
                <a:solidFill>
                  <a:schemeClr val="accent1">
                    <a:lumMod val="75000"/>
                  </a:schemeClr>
                </a:solidFill>
              </a:rPr>
              <a:t>How to obtain management buy-in and funding</a:t>
            </a:r>
          </a:p>
          <a:p>
            <a:endParaRPr lang="en-US" sz="1100" b="1" dirty="0">
              <a:solidFill>
                <a:schemeClr val="accent1">
                  <a:lumMod val="75000"/>
                </a:schemeClr>
              </a:solidFill>
            </a:endParaRPr>
          </a:p>
          <a:p>
            <a:r>
              <a:rPr lang="en-US" sz="1100" b="1" dirty="0">
                <a:solidFill>
                  <a:schemeClr val="accent1">
                    <a:lumMod val="75000"/>
                  </a:schemeClr>
                </a:solidFill>
              </a:rPr>
              <a:t>Timing of Implementation</a:t>
            </a:r>
          </a:p>
          <a:p>
            <a:endParaRPr lang="en-US" sz="1100" b="1" dirty="0">
              <a:solidFill>
                <a:schemeClr val="accent1">
                  <a:lumMod val="75000"/>
                </a:schemeClr>
              </a:solidFill>
            </a:endParaRPr>
          </a:p>
          <a:p>
            <a:r>
              <a:rPr lang="en-US" sz="1100" b="1" dirty="0">
                <a:solidFill>
                  <a:schemeClr val="accent1">
                    <a:lumMod val="75000"/>
                  </a:schemeClr>
                </a:solidFill>
              </a:rPr>
              <a:t>Who and what skill set is needed</a:t>
            </a:r>
          </a:p>
          <a:p>
            <a:endParaRPr lang="en-US" sz="1100" b="1" dirty="0">
              <a:solidFill>
                <a:schemeClr val="accent1">
                  <a:lumMod val="75000"/>
                </a:schemeClr>
              </a:solidFill>
            </a:endParaRPr>
          </a:p>
          <a:p>
            <a:r>
              <a:rPr lang="en-US" sz="1100" b="1" dirty="0">
                <a:solidFill>
                  <a:schemeClr val="accent1">
                    <a:lumMod val="75000"/>
                  </a:schemeClr>
                </a:solidFill>
              </a:rPr>
              <a:t>Key Take </a:t>
            </a:r>
            <a:r>
              <a:rPr lang="en-US" sz="1100" b="1" dirty="0" err="1">
                <a:solidFill>
                  <a:schemeClr val="accent1">
                    <a:lumMod val="75000"/>
                  </a:schemeClr>
                </a:solidFill>
              </a:rPr>
              <a:t>Aways</a:t>
            </a:r>
            <a:endParaRPr lang="en-US" sz="1100" b="1" dirty="0">
              <a:solidFill>
                <a:schemeClr val="accent1">
                  <a:lumMod val="75000"/>
                </a:schemeClr>
              </a:solidFill>
            </a:endParaRPr>
          </a:p>
          <a:p>
            <a:endParaRPr lang="en-US" sz="1400" b="1" dirty="0"/>
          </a:p>
          <a:p>
            <a:endParaRPr lang="en-US" sz="1400" b="1" dirty="0"/>
          </a:p>
        </p:txBody>
      </p:sp>
    </p:spTree>
    <p:extLst>
      <p:ext uri="{BB962C8B-B14F-4D97-AF65-F5344CB8AC3E}">
        <p14:creationId xmlns:p14="http://schemas.microsoft.com/office/powerpoint/2010/main" val="28880757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FED7EE-9928-4BD8-9329-E3F64D2BC04F}"/>
              </a:ext>
            </a:extLst>
          </p:cNvPr>
          <p:cNvSpPr>
            <a:spLocks noGrp="1"/>
          </p:cNvSpPr>
          <p:nvPr>
            <p:ph type="title"/>
          </p:nvPr>
        </p:nvSpPr>
        <p:spPr/>
        <p:txBody>
          <a:bodyPr/>
          <a:lstStyle/>
          <a:p>
            <a:pPr algn="ctr"/>
            <a:r>
              <a:rPr lang="en-US" dirty="0"/>
              <a:t>AN introduction to AMGEN</a:t>
            </a:r>
          </a:p>
        </p:txBody>
      </p:sp>
      <p:sp>
        <p:nvSpPr>
          <p:cNvPr id="7" name="TextBox 6">
            <a:extLst>
              <a:ext uri="{FF2B5EF4-FFF2-40B4-BE49-F238E27FC236}">
                <a16:creationId xmlns:a16="http://schemas.microsoft.com/office/drawing/2014/main" id="{25F62829-9370-46EC-BC08-3D7027EB1597}"/>
              </a:ext>
            </a:extLst>
          </p:cNvPr>
          <p:cNvSpPr txBox="1"/>
          <p:nvPr/>
        </p:nvSpPr>
        <p:spPr>
          <a:xfrm>
            <a:off x="363538" y="1200150"/>
            <a:ext cx="8018462" cy="685800"/>
          </a:xfrm>
          <a:prstGeom prst="rect">
            <a:avLst/>
          </a:prstGeom>
          <a:noFill/>
        </p:spPr>
        <p:txBody>
          <a:bodyPr wrap="square" rtlCol="0">
            <a:spAutoFit/>
          </a:bodyPr>
          <a:lstStyle/>
          <a:p>
            <a:endParaRPr lang="en-US" sz="1400" b="1" dirty="0"/>
          </a:p>
        </p:txBody>
      </p:sp>
      <p:sp>
        <p:nvSpPr>
          <p:cNvPr id="8" name="TextBox 7">
            <a:extLst>
              <a:ext uri="{FF2B5EF4-FFF2-40B4-BE49-F238E27FC236}">
                <a16:creationId xmlns:a16="http://schemas.microsoft.com/office/drawing/2014/main" id="{223B3D77-2435-414C-BFFA-6D09308880C4}"/>
              </a:ext>
            </a:extLst>
          </p:cNvPr>
          <p:cNvSpPr txBox="1"/>
          <p:nvPr/>
        </p:nvSpPr>
        <p:spPr>
          <a:xfrm>
            <a:off x="363538" y="1065996"/>
            <a:ext cx="2379662" cy="3108543"/>
          </a:xfrm>
          <a:prstGeom prst="rect">
            <a:avLst/>
          </a:prstGeom>
          <a:noFill/>
        </p:spPr>
        <p:txBody>
          <a:bodyPr wrap="square" rtlCol="0">
            <a:spAutoFit/>
          </a:bodyPr>
          <a:lstStyle/>
          <a:p>
            <a:r>
              <a:rPr lang="en-US" sz="1400" b="1" i="1" dirty="0">
                <a:solidFill>
                  <a:schemeClr val="accent1">
                    <a:lumMod val="75000"/>
                  </a:schemeClr>
                </a:solidFill>
              </a:rPr>
              <a:t>At Amgen, we believe in a “biology first” approach. We use cutting-edge science and technology to study the subtlest biological mechanisms in search of therapies that will improve the lives of those who suffer from serious diseases. Amgen believes the cure for disease can be found inside each and every one of us. </a:t>
            </a:r>
          </a:p>
        </p:txBody>
      </p:sp>
      <p:pic>
        <p:nvPicPr>
          <p:cNvPr id="6" name="The Answers Within">
            <a:hlinkClick r:id="" action="ppaction://media"/>
            <a:extLst>
              <a:ext uri="{FF2B5EF4-FFF2-40B4-BE49-F238E27FC236}">
                <a16:creationId xmlns:a16="http://schemas.microsoft.com/office/drawing/2014/main" id="{82E92D18-BE72-404E-84D8-1587B849C1BD}"/>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971800" y="1107489"/>
            <a:ext cx="5486400" cy="3086100"/>
          </a:xfrm>
          <a:prstGeom prst="rect">
            <a:avLst/>
          </a:prstGeom>
        </p:spPr>
      </p:pic>
    </p:spTree>
    <p:extLst>
      <p:ext uri="{BB962C8B-B14F-4D97-AF65-F5344CB8AC3E}">
        <p14:creationId xmlns:p14="http://schemas.microsoft.com/office/powerpoint/2010/main" val="239075618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BE0BD66-816A-4EC5-BBD6-49E210288E94}"/>
              </a:ext>
            </a:extLst>
          </p:cNvPr>
          <p:cNvSpPr>
            <a:spLocks noGrp="1"/>
          </p:cNvSpPr>
          <p:nvPr>
            <p:ph type="title"/>
          </p:nvPr>
        </p:nvSpPr>
        <p:spPr/>
        <p:txBody>
          <a:bodyPr/>
          <a:lstStyle/>
          <a:p>
            <a:pPr algn="ctr"/>
            <a:r>
              <a:rPr lang="en-US" dirty="0"/>
              <a:t>Amgen treasury organization</a:t>
            </a:r>
          </a:p>
        </p:txBody>
      </p:sp>
      <p:pic>
        <p:nvPicPr>
          <p:cNvPr id="2" name="Picture 1">
            <a:extLst>
              <a:ext uri="{FF2B5EF4-FFF2-40B4-BE49-F238E27FC236}">
                <a16:creationId xmlns:a16="http://schemas.microsoft.com/office/drawing/2014/main" id="{7C14688F-737D-454B-909D-2A4872C9BB01}"/>
              </a:ext>
            </a:extLst>
          </p:cNvPr>
          <p:cNvPicPr>
            <a:picLocks noChangeAspect="1"/>
          </p:cNvPicPr>
          <p:nvPr/>
        </p:nvPicPr>
        <p:blipFill>
          <a:blip r:embed="rId3"/>
          <a:stretch>
            <a:fillRect/>
          </a:stretch>
        </p:blipFill>
        <p:spPr>
          <a:xfrm>
            <a:off x="609600" y="1123950"/>
            <a:ext cx="7848600" cy="3521293"/>
          </a:xfrm>
          <a:prstGeom prst="rect">
            <a:avLst/>
          </a:prstGeom>
        </p:spPr>
      </p:pic>
      <p:graphicFrame>
        <p:nvGraphicFramePr>
          <p:cNvPr id="3" name="Diagram 2">
            <a:extLst>
              <a:ext uri="{FF2B5EF4-FFF2-40B4-BE49-F238E27FC236}">
                <a16:creationId xmlns:a16="http://schemas.microsoft.com/office/drawing/2014/main" id="{FEA1003E-0A6B-4BE2-B1CB-623F5BDD31E8}"/>
              </a:ext>
            </a:extLst>
          </p:cNvPr>
          <p:cNvGraphicFramePr/>
          <p:nvPr>
            <p:extLst>
              <p:ext uri="{D42A27DB-BD31-4B8C-83A1-F6EECF244321}">
                <p14:modId xmlns:p14="http://schemas.microsoft.com/office/powerpoint/2010/main" val="2184899479"/>
              </p:ext>
            </p:extLst>
          </p:nvPr>
        </p:nvGraphicFramePr>
        <p:xfrm>
          <a:off x="1524000" y="53975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ectangle 6">
            <a:extLst>
              <a:ext uri="{FF2B5EF4-FFF2-40B4-BE49-F238E27FC236}">
                <a16:creationId xmlns:a16="http://schemas.microsoft.com/office/drawing/2014/main" id="{42130253-FCC5-4359-AA29-525DC05A4113}"/>
              </a:ext>
            </a:extLst>
          </p:cNvPr>
          <p:cNvSpPr/>
          <p:nvPr/>
        </p:nvSpPr>
        <p:spPr>
          <a:xfrm>
            <a:off x="-820003" y="1978132"/>
            <a:ext cx="6248399" cy="523220"/>
          </a:xfrm>
          <a:prstGeom prst="rect">
            <a:avLst/>
          </a:prstGeom>
          <a:noFill/>
        </p:spPr>
        <p:txBody>
          <a:bodyPr wrap="square" lIns="91440" tIns="45720" rIns="91440" bIns="45720">
            <a:spAutoFit/>
          </a:bodyPr>
          <a:lstStyle/>
          <a:p>
            <a:pPr algn="ctr"/>
            <a:endParaRPr lang="en-US" sz="2800" b="1" cap="none" spc="0" dirty="0">
              <a:ln w="12700">
                <a:solidFill>
                  <a:schemeClr val="accent1"/>
                </a:solidFill>
                <a:prstDash val="solid"/>
              </a:ln>
              <a:solidFill>
                <a:schemeClr val="accent4">
                  <a:lumMod val="40000"/>
                  <a:lumOff val="60000"/>
                </a:schemeClr>
              </a:solidFill>
              <a:effectLst>
                <a:outerShdw dist="38100" dir="2640000" algn="bl" rotWithShape="0">
                  <a:schemeClr val="accent1"/>
                </a:outerShdw>
              </a:effectLst>
            </a:endParaRPr>
          </a:p>
        </p:txBody>
      </p:sp>
      <p:sp>
        <p:nvSpPr>
          <p:cNvPr id="10" name="TextBox 9">
            <a:extLst>
              <a:ext uri="{FF2B5EF4-FFF2-40B4-BE49-F238E27FC236}">
                <a16:creationId xmlns:a16="http://schemas.microsoft.com/office/drawing/2014/main" id="{DE9B3F63-8BB4-4E49-9776-80D6B7F45179}"/>
              </a:ext>
            </a:extLst>
          </p:cNvPr>
          <p:cNvSpPr txBox="1"/>
          <p:nvPr/>
        </p:nvSpPr>
        <p:spPr>
          <a:xfrm>
            <a:off x="656948" y="1123950"/>
            <a:ext cx="1781452" cy="2462213"/>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sz="1100" b="1" dirty="0">
                <a:solidFill>
                  <a:schemeClr val="accent1">
                    <a:lumMod val="75000"/>
                  </a:schemeClr>
                </a:solidFill>
              </a:rPr>
              <a:t>2019 highlights:</a:t>
            </a:r>
          </a:p>
          <a:p>
            <a:endParaRPr lang="en-US" sz="1100" b="1" dirty="0">
              <a:solidFill>
                <a:schemeClr val="accent1">
                  <a:lumMod val="75000"/>
                </a:schemeClr>
              </a:solidFill>
            </a:endParaRPr>
          </a:p>
          <a:p>
            <a:pPr marL="285750" indent="-285750">
              <a:buFontTx/>
              <a:buChar char="-"/>
            </a:pPr>
            <a:r>
              <a:rPr lang="en-US" sz="1100" b="1" dirty="0">
                <a:solidFill>
                  <a:schemeClr val="accent1">
                    <a:lumMod val="75000"/>
                  </a:schemeClr>
                </a:solidFill>
              </a:rPr>
              <a:t>2 acquisitions (</a:t>
            </a:r>
            <a:r>
              <a:rPr lang="en-US" sz="1100" b="1" dirty="0" err="1">
                <a:solidFill>
                  <a:schemeClr val="accent1">
                    <a:lumMod val="75000"/>
                  </a:schemeClr>
                </a:solidFill>
              </a:rPr>
              <a:t>Otezla</a:t>
            </a:r>
            <a:r>
              <a:rPr lang="en-US" sz="1100" b="1" dirty="0">
                <a:solidFill>
                  <a:schemeClr val="accent1">
                    <a:lumMod val="75000"/>
                  </a:schemeClr>
                </a:solidFill>
              </a:rPr>
              <a:t>, </a:t>
            </a:r>
            <a:r>
              <a:rPr lang="en-US" sz="1100" b="1" dirty="0" err="1">
                <a:solidFill>
                  <a:schemeClr val="accent1">
                    <a:lumMod val="75000"/>
                  </a:schemeClr>
                </a:solidFill>
              </a:rPr>
              <a:t>Nuevolution</a:t>
            </a:r>
            <a:r>
              <a:rPr lang="en-US" sz="1100" b="1" dirty="0">
                <a:solidFill>
                  <a:schemeClr val="accent1">
                    <a:lumMod val="75000"/>
                  </a:schemeClr>
                </a:solidFill>
              </a:rPr>
              <a:t>)</a:t>
            </a:r>
          </a:p>
          <a:p>
            <a:pPr marL="285750" indent="-285750">
              <a:buFontTx/>
              <a:buChar char="-"/>
            </a:pPr>
            <a:r>
              <a:rPr lang="en-US" sz="1100" b="1" dirty="0">
                <a:solidFill>
                  <a:schemeClr val="accent1">
                    <a:lumMod val="75000"/>
                  </a:schemeClr>
                </a:solidFill>
              </a:rPr>
              <a:t>Amgen takes 20% stake in </a:t>
            </a:r>
            <a:r>
              <a:rPr lang="en-US" sz="1100" b="1" dirty="0" err="1">
                <a:solidFill>
                  <a:schemeClr val="accent1">
                    <a:lumMod val="75000"/>
                  </a:schemeClr>
                </a:solidFill>
              </a:rPr>
              <a:t>Beigene</a:t>
            </a:r>
            <a:r>
              <a:rPr lang="en-US" sz="1100" b="1" dirty="0">
                <a:solidFill>
                  <a:schemeClr val="accent1">
                    <a:lumMod val="75000"/>
                  </a:schemeClr>
                </a:solidFill>
              </a:rPr>
              <a:t> (China)</a:t>
            </a:r>
          </a:p>
          <a:p>
            <a:pPr marL="285750" indent="-285750">
              <a:buFontTx/>
              <a:buChar char="-"/>
            </a:pPr>
            <a:r>
              <a:rPr lang="en-US" sz="1100" b="1" dirty="0">
                <a:solidFill>
                  <a:schemeClr val="accent1">
                    <a:lumMod val="75000"/>
                  </a:schemeClr>
                </a:solidFill>
              </a:rPr>
              <a:t>Expansion South East Asia (MY, PH, TH, HK, SG) and Argentina</a:t>
            </a:r>
          </a:p>
          <a:p>
            <a:pPr marL="285750" indent="-285750">
              <a:buFontTx/>
              <a:buChar char="-"/>
            </a:pPr>
            <a:r>
              <a:rPr lang="en-US" sz="1100" b="1" dirty="0">
                <a:solidFill>
                  <a:schemeClr val="accent1">
                    <a:lumMod val="75000"/>
                  </a:schemeClr>
                </a:solidFill>
              </a:rPr>
              <a:t>System/Process Automation</a:t>
            </a:r>
          </a:p>
        </p:txBody>
      </p:sp>
      <p:cxnSp>
        <p:nvCxnSpPr>
          <p:cNvPr id="13" name="Straight Connector 12">
            <a:extLst>
              <a:ext uri="{FF2B5EF4-FFF2-40B4-BE49-F238E27FC236}">
                <a16:creationId xmlns:a16="http://schemas.microsoft.com/office/drawing/2014/main" id="{7D5F7D28-79AC-46DD-B898-4D50457F8A75}"/>
              </a:ext>
            </a:extLst>
          </p:cNvPr>
          <p:cNvCxnSpPr/>
          <p:nvPr/>
        </p:nvCxnSpPr>
        <p:spPr>
          <a:xfrm flipV="1">
            <a:off x="3048000" y="2737556"/>
            <a:ext cx="152400" cy="160446"/>
          </a:xfrm>
          <a:prstGeom prst="line">
            <a:avLst/>
          </a:prstGeom>
          <a:ln w="28575" cap="rnd">
            <a:solidFill>
              <a:schemeClr val="accent1">
                <a:lumMod val="40000"/>
                <a:lumOff val="60000"/>
              </a:schemeClr>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B8F4A70-B75D-4291-ABEE-9D0756FB661D}"/>
              </a:ext>
            </a:extLst>
          </p:cNvPr>
          <p:cNvCxnSpPr/>
          <p:nvPr/>
        </p:nvCxnSpPr>
        <p:spPr>
          <a:xfrm flipH="1" flipV="1">
            <a:off x="3810000" y="2884596"/>
            <a:ext cx="228600" cy="68154"/>
          </a:xfrm>
          <a:prstGeom prst="line">
            <a:avLst/>
          </a:prstGeom>
          <a:ln w="28575" cap="rnd">
            <a:solidFill>
              <a:schemeClr val="accent1">
                <a:lumMod val="40000"/>
                <a:lumOff val="60000"/>
              </a:schemeClr>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8D85DF-F5FA-4B12-B74A-8A96DE70ADED}"/>
              </a:ext>
            </a:extLst>
          </p:cNvPr>
          <p:cNvCxnSpPr>
            <a:cxnSpLocks/>
          </p:cNvCxnSpPr>
          <p:nvPr/>
        </p:nvCxnSpPr>
        <p:spPr>
          <a:xfrm>
            <a:off x="5181600" y="1978132"/>
            <a:ext cx="152400" cy="365018"/>
          </a:xfrm>
          <a:prstGeom prst="line">
            <a:avLst/>
          </a:prstGeom>
          <a:ln w="28575" cap="rnd">
            <a:solidFill>
              <a:schemeClr val="accent1">
                <a:lumMod val="60000"/>
                <a:lumOff val="40000"/>
              </a:schemeClr>
            </a:solidFill>
            <a:tailEnd type="stealth"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0139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9084C177-7856-477A-ACCB-7D6336E66C53}"/>
              </a:ext>
            </a:extLst>
          </p:cNvPr>
          <p:cNvPicPr>
            <a:picLocks noGrp="1" noChangeAspect="1"/>
          </p:cNvPicPr>
          <p:nvPr>
            <p:ph type="pic" sz="quarter" idx="13"/>
          </p:nvPr>
        </p:nvPicPr>
        <p:blipFill>
          <a:blip r:embed="rId3"/>
          <a:srcRect t="1130" b="1130"/>
          <a:stretch>
            <a:fillRect/>
          </a:stretch>
        </p:blipFill>
        <p:spPr>
          <a:prstGeom prst="rect">
            <a:avLst/>
          </a:prstGeom>
        </p:spPr>
      </p:pic>
      <p:pic>
        <p:nvPicPr>
          <p:cNvPr id="8" name="Picture Placeholder 7">
            <a:extLst>
              <a:ext uri="{FF2B5EF4-FFF2-40B4-BE49-F238E27FC236}">
                <a16:creationId xmlns:a16="http://schemas.microsoft.com/office/drawing/2014/main" id="{954E3FC2-9364-4E64-92C7-6A70309B4FC9}"/>
              </a:ext>
            </a:extLst>
          </p:cNvPr>
          <p:cNvPicPr>
            <a:picLocks noGrp="1" noChangeAspect="1"/>
          </p:cNvPicPr>
          <p:nvPr>
            <p:ph type="pic" sz="quarter" idx="14"/>
          </p:nvPr>
        </p:nvPicPr>
        <p:blipFill>
          <a:blip r:embed="rId4"/>
          <a:srcRect l="1695" r="1695"/>
          <a:stretch>
            <a:fillRect/>
          </a:stretch>
        </p:blipFill>
        <p:spPr>
          <a:xfrm>
            <a:off x="6066253" y="1007705"/>
            <a:ext cx="3001547" cy="3551595"/>
          </a:xfrm>
          <a:prstGeom prst="rect">
            <a:avLst/>
          </a:prstGeom>
        </p:spPr>
      </p:pic>
      <p:sp>
        <p:nvSpPr>
          <p:cNvPr id="5" name="Title 4">
            <a:extLst>
              <a:ext uri="{FF2B5EF4-FFF2-40B4-BE49-F238E27FC236}">
                <a16:creationId xmlns:a16="http://schemas.microsoft.com/office/drawing/2014/main" id="{D0EE738D-FA0D-476A-AB82-2EFC77262910}"/>
              </a:ext>
            </a:extLst>
          </p:cNvPr>
          <p:cNvSpPr>
            <a:spLocks noGrp="1"/>
          </p:cNvSpPr>
          <p:nvPr>
            <p:ph type="title"/>
          </p:nvPr>
        </p:nvSpPr>
        <p:spPr/>
        <p:txBody>
          <a:bodyPr/>
          <a:lstStyle/>
          <a:p>
            <a:pPr algn="ctr"/>
            <a:r>
              <a:rPr lang="en-US" dirty="0"/>
              <a:t>Digital transformation strategy</a:t>
            </a:r>
          </a:p>
        </p:txBody>
      </p:sp>
      <p:pic>
        <p:nvPicPr>
          <p:cNvPr id="26" name="Picture Placeholder 25">
            <a:extLst>
              <a:ext uri="{FF2B5EF4-FFF2-40B4-BE49-F238E27FC236}">
                <a16:creationId xmlns:a16="http://schemas.microsoft.com/office/drawing/2014/main" id="{FAAA069E-957A-484C-B2B3-7F21AD69A75C}"/>
              </a:ext>
            </a:extLst>
          </p:cNvPr>
          <p:cNvPicPr>
            <a:picLocks noGrp="1" noChangeAspect="1"/>
          </p:cNvPicPr>
          <p:nvPr>
            <p:ph type="pic" sz="quarter" idx="15"/>
          </p:nvPr>
        </p:nvPicPr>
        <p:blipFill>
          <a:blip r:embed="rId5"/>
          <a:srcRect l="3909" r="3909"/>
          <a:stretch>
            <a:fillRect/>
          </a:stretch>
        </p:blipFill>
        <p:spPr>
          <a:prstGeom prst="rect">
            <a:avLst/>
          </a:prstGeom>
        </p:spPr>
      </p:pic>
      <p:sp>
        <p:nvSpPr>
          <p:cNvPr id="27" name="TextBox 26">
            <a:extLst>
              <a:ext uri="{FF2B5EF4-FFF2-40B4-BE49-F238E27FC236}">
                <a16:creationId xmlns:a16="http://schemas.microsoft.com/office/drawing/2014/main" id="{A5FEEA95-BF27-4223-A1BA-1DB2A7EF3C76}"/>
              </a:ext>
            </a:extLst>
          </p:cNvPr>
          <p:cNvSpPr txBox="1"/>
          <p:nvPr/>
        </p:nvSpPr>
        <p:spPr>
          <a:xfrm>
            <a:off x="228600" y="4019550"/>
            <a:ext cx="2667000" cy="307777"/>
          </a:xfrm>
          <a:prstGeom prst="rect">
            <a:avLst/>
          </a:prstGeom>
          <a:noFill/>
        </p:spPr>
        <p:txBody>
          <a:bodyPr wrap="square" rtlCol="0">
            <a:spAutoFit/>
          </a:bodyPr>
          <a:lstStyle/>
          <a:p>
            <a:r>
              <a:rPr lang="en-US" sz="1400" b="1" dirty="0">
                <a:solidFill>
                  <a:schemeClr val="bg1"/>
                </a:solidFill>
              </a:rPr>
              <a:t>System Harmonization</a:t>
            </a:r>
          </a:p>
        </p:txBody>
      </p:sp>
      <p:sp>
        <p:nvSpPr>
          <p:cNvPr id="28" name="TextBox 27">
            <a:extLst>
              <a:ext uri="{FF2B5EF4-FFF2-40B4-BE49-F238E27FC236}">
                <a16:creationId xmlns:a16="http://schemas.microsoft.com/office/drawing/2014/main" id="{EAC5B1D2-6C3A-494B-AD73-4E6BF9C32F3B}"/>
              </a:ext>
            </a:extLst>
          </p:cNvPr>
          <p:cNvSpPr txBox="1"/>
          <p:nvPr/>
        </p:nvSpPr>
        <p:spPr>
          <a:xfrm>
            <a:off x="3335065" y="3982654"/>
            <a:ext cx="2667000" cy="307777"/>
          </a:xfrm>
          <a:prstGeom prst="rect">
            <a:avLst/>
          </a:prstGeom>
          <a:noFill/>
        </p:spPr>
        <p:txBody>
          <a:bodyPr wrap="square" rtlCol="0">
            <a:spAutoFit/>
          </a:bodyPr>
          <a:lstStyle/>
          <a:p>
            <a:r>
              <a:rPr lang="en-US" sz="1400" b="1" dirty="0">
                <a:solidFill>
                  <a:schemeClr val="bg1"/>
                </a:solidFill>
              </a:rPr>
              <a:t>Robotics</a:t>
            </a:r>
          </a:p>
        </p:txBody>
      </p:sp>
      <p:sp>
        <p:nvSpPr>
          <p:cNvPr id="29" name="TextBox 28">
            <a:extLst>
              <a:ext uri="{FF2B5EF4-FFF2-40B4-BE49-F238E27FC236}">
                <a16:creationId xmlns:a16="http://schemas.microsoft.com/office/drawing/2014/main" id="{08967E55-ED10-434D-9767-893669EF80B8}"/>
              </a:ext>
            </a:extLst>
          </p:cNvPr>
          <p:cNvSpPr txBox="1"/>
          <p:nvPr/>
        </p:nvSpPr>
        <p:spPr>
          <a:xfrm>
            <a:off x="6216087" y="3982653"/>
            <a:ext cx="2667000" cy="307777"/>
          </a:xfrm>
          <a:prstGeom prst="rect">
            <a:avLst/>
          </a:prstGeom>
          <a:noFill/>
        </p:spPr>
        <p:txBody>
          <a:bodyPr wrap="square" rtlCol="0">
            <a:spAutoFit/>
          </a:bodyPr>
          <a:lstStyle/>
          <a:p>
            <a:r>
              <a:rPr lang="en-US" sz="1400" b="1" dirty="0">
                <a:solidFill>
                  <a:schemeClr val="bg1"/>
                </a:solidFill>
              </a:rPr>
              <a:t>Artificial Intelligence</a:t>
            </a:r>
          </a:p>
        </p:txBody>
      </p:sp>
    </p:spTree>
    <p:extLst>
      <p:ext uri="{BB962C8B-B14F-4D97-AF65-F5344CB8AC3E}">
        <p14:creationId xmlns:p14="http://schemas.microsoft.com/office/powerpoint/2010/main" val="304543045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C7C7A-99E0-4EDA-9039-C2ED3F9AB8C1}"/>
              </a:ext>
            </a:extLst>
          </p:cNvPr>
          <p:cNvSpPr>
            <a:spLocks noGrp="1"/>
          </p:cNvSpPr>
          <p:nvPr>
            <p:ph type="title"/>
          </p:nvPr>
        </p:nvSpPr>
        <p:spPr/>
        <p:txBody>
          <a:bodyPr/>
          <a:lstStyle/>
          <a:p>
            <a:r>
              <a:rPr lang="en-US" dirty="0"/>
              <a:t>Current-state treasury system landscape</a:t>
            </a:r>
            <a:endParaRPr lang="en-GB" dirty="0"/>
          </a:p>
        </p:txBody>
      </p:sp>
      <p:sp>
        <p:nvSpPr>
          <p:cNvPr id="19" name="Freeform 38">
            <a:extLst>
              <a:ext uri="{FF2B5EF4-FFF2-40B4-BE49-F238E27FC236}">
                <a16:creationId xmlns:a16="http://schemas.microsoft.com/office/drawing/2014/main" id="{7DD2C97C-1038-4B63-A3D2-C8AD1EE88D1A}"/>
              </a:ext>
            </a:extLst>
          </p:cNvPr>
          <p:cNvSpPr/>
          <p:nvPr/>
        </p:nvSpPr>
        <p:spPr>
          <a:xfrm>
            <a:off x="3969504" y="2133528"/>
            <a:ext cx="1204996" cy="1276072"/>
          </a:xfrm>
          <a:custGeom>
            <a:avLst/>
            <a:gdLst>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2359024 h 2359024"/>
              <a:gd name="connsiteX119" fmla="*/ 411984 w 2316162"/>
              <a:gd name="connsiteY119" fmla="*/ 1368423 h 2359024"/>
              <a:gd name="connsiteX120" fmla="*/ 409575 w 2316162"/>
              <a:gd name="connsiteY120" fmla="*/ 1368423 h 2359024"/>
              <a:gd name="connsiteX121" fmla="*/ 409575 w 2316162"/>
              <a:gd name="connsiteY121" fmla="*/ 1306513 h 2359024"/>
              <a:gd name="connsiteX122" fmla="*/ 406400 w 2316162"/>
              <a:gd name="connsiteY122" fmla="*/ 1284288 h 2359024"/>
              <a:gd name="connsiteX123" fmla="*/ 398463 w 2316162"/>
              <a:gd name="connsiteY123" fmla="*/ 1266825 h 2359024"/>
              <a:gd name="connsiteX124" fmla="*/ 382588 w 2316162"/>
              <a:gd name="connsiteY124" fmla="*/ 1254125 h 2359024"/>
              <a:gd name="connsiteX125" fmla="*/ 365125 w 2316162"/>
              <a:gd name="connsiteY125" fmla="*/ 1247775 h 2359024"/>
              <a:gd name="connsiteX126" fmla="*/ 344488 w 2316162"/>
              <a:gd name="connsiteY126" fmla="*/ 1246188 h 2359024"/>
              <a:gd name="connsiteX127" fmla="*/ 320675 w 2316162"/>
              <a:gd name="connsiteY127" fmla="*/ 1249363 h 2359024"/>
              <a:gd name="connsiteX128" fmla="*/ 295275 w 2316162"/>
              <a:gd name="connsiteY128" fmla="*/ 1257300 h 2359024"/>
              <a:gd name="connsiteX129" fmla="*/ 292100 w 2316162"/>
              <a:gd name="connsiteY129" fmla="*/ 1258888 h 2359024"/>
              <a:gd name="connsiteX130" fmla="*/ 282575 w 2316162"/>
              <a:gd name="connsiteY130" fmla="*/ 1262063 h 2359024"/>
              <a:gd name="connsiteX131" fmla="*/ 266700 w 2316162"/>
              <a:gd name="connsiteY131" fmla="*/ 1265238 h 2359024"/>
              <a:gd name="connsiteX132" fmla="*/ 249238 w 2316162"/>
              <a:gd name="connsiteY132" fmla="*/ 1270000 h 2359024"/>
              <a:gd name="connsiteX133" fmla="*/ 227013 w 2316162"/>
              <a:gd name="connsiteY133" fmla="*/ 1273175 h 2359024"/>
              <a:gd name="connsiteX134" fmla="*/ 204788 w 2316162"/>
              <a:gd name="connsiteY134" fmla="*/ 1277938 h 2359024"/>
              <a:gd name="connsiteX135" fmla="*/ 184150 w 2316162"/>
              <a:gd name="connsiteY135" fmla="*/ 1279525 h 2359024"/>
              <a:gd name="connsiteX136" fmla="*/ 165100 w 2316162"/>
              <a:gd name="connsiteY136" fmla="*/ 1281113 h 2359024"/>
              <a:gd name="connsiteX137" fmla="*/ 127000 w 2316162"/>
              <a:gd name="connsiteY137" fmla="*/ 1276350 h 2359024"/>
              <a:gd name="connsiteX138" fmla="*/ 92075 w 2316162"/>
              <a:gd name="connsiteY138" fmla="*/ 1265238 h 2359024"/>
              <a:gd name="connsiteX139" fmla="*/ 61913 w 2316162"/>
              <a:gd name="connsiteY139" fmla="*/ 1246188 h 2359024"/>
              <a:gd name="connsiteX140" fmla="*/ 36513 w 2316162"/>
              <a:gd name="connsiteY140" fmla="*/ 1220788 h 2359024"/>
              <a:gd name="connsiteX141" fmla="*/ 17463 w 2316162"/>
              <a:gd name="connsiteY141" fmla="*/ 1192213 h 2359024"/>
              <a:gd name="connsiteX142" fmla="*/ 4763 w 2316162"/>
              <a:gd name="connsiteY142" fmla="*/ 1158875 h 2359024"/>
              <a:gd name="connsiteX143" fmla="*/ 0 w 2316162"/>
              <a:gd name="connsiteY143" fmla="*/ 1122362 h 2359024"/>
              <a:gd name="connsiteX144" fmla="*/ 4763 w 2316162"/>
              <a:gd name="connsiteY144" fmla="*/ 1085850 h 2359024"/>
              <a:gd name="connsiteX145" fmla="*/ 17463 w 2316162"/>
              <a:gd name="connsiteY145" fmla="*/ 1052512 h 2359024"/>
              <a:gd name="connsiteX146" fmla="*/ 36513 w 2316162"/>
              <a:gd name="connsiteY146" fmla="*/ 1022350 h 2359024"/>
              <a:gd name="connsiteX147" fmla="*/ 61913 w 2316162"/>
              <a:gd name="connsiteY147" fmla="*/ 998537 h 2359024"/>
              <a:gd name="connsiteX148" fmla="*/ 92075 w 2316162"/>
              <a:gd name="connsiteY148" fmla="*/ 979487 h 2359024"/>
              <a:gd name="connsiteX149" fmla="*/ 127000 w 2316162"/>
              <a:gd name="connsiteY149" fmla="*/ 968375 h 2359024"/>
              <a:gd name="connsiteX150" fmla="*/ 165100 w 2316162"/>
              <a:gd name="connsiteY150" fmla="*/ 963612 h 2359024"/>
              <a:gd name="connsiteX151" fmla="*/ 184150 w 2316162"/>
              <a:gd name="connsiteY151" fmla="*/ 965200 h 2359024"/>
              <a:gd name="connsiteX152" fmla="*/ 206375 w 2316162"/>
              <a:gd name="connsiteY152" fmla="*/ 969962 h 2359024"/>
              <a:gd name="connsiteX153" fmla="*/ 230188 w 2316162"/>
              <a:gd name="connsiteY153" fmla="*/ 976312 h 2359024"/>
              <a:gd name="connsiteX154" fmla="*/ 252413 w 2316162"/>
              <a:gd name="connsiteY154" fmla="*/ 984250 h 2359024"/>
              <a:gd name="connsiteX155" fmla="*/ 273050 w 2316162"/>
              <a:gd name="connsiteY155" fmla="*/ 990600 h 2359024"/>
              <a:gd name="connsiteX156" fmla="*/ 290513 w 2316162"/>
              <a:gd name="connsiteY156" fmla="*/ 996950 h 2359024"/>
              <a:gd name="connsiteX157" fmla="*/ 301625 w 2316162"/>
              <a:gd name="connsiteY157" fmla="*/ 1001712 h 2359024"/>
              <a:gd name="connsiteX158" fmla="*/ 304800 w 2316162"/>
              <a:gd name="connsiteY158" fmla="*/ 1003300 h 2359024"/>
              <a:gd name="connsiteX159" fmla="*/ 333375 w 2316162"/>
              <a:gd name="connsiteY159" fmla="*/ 1011237 h 2359024"/>
              <a:gd name="connsiteX160" fmla="*/ 358775 w 2316162"/>
              <a:gd name="connsiteY160" fmla="*/ 1009650 h 2359024"/>
              <a:gd name="connsiteX161" fmla="*/ 379413 w 2316162"/>
              <a:gd name="connsiteY161" fmla="*/ 1001712 h 2359024"/>
              <a:gd name="connsiteX162" fmla="*/ 396875 w 2316162"/>
              <a:gd name="connsiteY162" fmla="*/ 987425 h 2359024"/>
              <a:gd name="connsiteX163" fmla="*/ 406400 w 2316162"/>
              <a:gd name="connsiteY163" fmla="*/ 965200 h 2359024"/>
              <a:gd name="connsiteX164" fmla="*/ 409575 w 2316162"/>
              <a:gd name="connsiteY164" fmla="*/ 936625 h 2359024"/>
              <a:gd name="connsiteX165" fmla="*/ 409575 w 2316162"/>
              <a:gd name="connsiteY165" fmla="*/ 402374 h 2359024"/>
              <a:gd name="connsiteX166" fmla="*/ 412616 w 2316162"/>
              <a:gd name="connsiteY166" fmla="*/ 402374 h 2359024"/>
              <a:gd name="connsiteX167" fmla="*/ 412616 w 2316162"/>
              <a:gd name="connsiteY167" fmla="*/ 395287 h 2359024"/>
              <a:gd name="connsiteX168" fmla="*/ 969962 w 2316162"/>
              <a:gd name="connsiteY168" fmla="*/ 395287 h 2359024"/>
              <a:gd name="connsiteX169" fmla="*/ 996950 w 2316162"/>
              <a:gd name="connsiteY169" fmla="*/ 392112 h 2359024"/>
              <a:gd name="connsiteX170" fmla="*/ 1020762 w 2316162"/>
              <a:gd name="connsiteY170" fmla="*/ 382587 h 2359024"/>
              <a:gd name="connsiteX171" fmla="*/ 1036637 w 2316162"/>
              <a:gd name="connsiteY171" fmla="*/ 366712 h 2359024"/>
              <a:gd name="connsiteX172" fmla="*/ 1044575 w 2316162"/>
              <a:gd name="connsiteY172" fmla="*/ 346075 h 2359024"/>
              <a:gd name="connsiteX173" fmla="*/ 1046162 w 2316162"/>
              <a:gd name="connsiteY173" fmla="*/ 322262 h 2359024"/>
              <a:gd name="connsiteX174" fmla="*/ 1038225 w 2316162"/>
              <a:gd name="connsiteY174" fmla="*/ 295275 h 2359024"/>
              <a:gd name="connsiteX175" fmla="*/ 1036637 w 2316162"/>
              <a:gd name="connsiteY175" fmla="*/ 290512 h 2359024"/>
              <a:gd name="connsiteX176" fmla="*/ 1031875 w 2316162"/>
              <a:gd name="connsiteY176" fmla="*/ 280987 h 2359024"/>
              <a:gd name="connsiteX177" fmla="*/ 1025525 w 2316162"/>
              <a:gd name="connsiteY177" fmla="*/ 265112 h 2359024"/>
              <a:gd name="connsiteX178" fmla="*/ 1016000 w 2316162"/>
              <a:gd name="connsiteY178" fmla="*/ 244475 h 2359024"/>
              <a:gd name="connsiteX179" fmla="*/ 1008062 w 2316162"/>
              <a:gd name="connsiteY179" fmla="*/ 222250 h 2359024"/>
              <a:gd name="connsiteX180" fmla="*/ 1001712 w 2316162"/>
              <a:gd name="connsiteY180" fmla="*/ 200025 h 2359024"/>
              <a:gd name="connsiteX181" fmla="*/ 996950 w 2316162"/>
              <a:gd name="connsiteY181" fmla="*/ 177800 h 2359024"/>
              <a:gd name="connsiteX182" fmla="*/ 995362 w 2316162"/>
              <a:gd name="connsiteY182" fmla="*/ 158750 h 2359024"/>
              <a:gd name="connsiteX183" fmla="*/ 1000125 w 2316162"/>
              <a:gd name="connsiteY183" fmla="*/ 122237 h 2359024"/>
              <a:gd name="connsiteX184" fmla="*/ 1011237 w 2316162"/>
              <a:gd name="connsiteY184" fmla="*/ 88900 h 2359024"/>
              <a:gd name="connsiteX185" fmla="*/ 1031875 w 2316162"/>
              <a:gd name="connsiteY185" fmla="*/ 60325 h 2359024"/>
              <a:gd name="connsiteX186" fmla="*/ 1057275 w 2316162"/>
              <a:gd name="connsiteY186" fmla="*/ 34925 h 2359024"/>
              <a:gd name="connsiteX187" fmla="*/ 1087437 w 2316162"/>
              <a:gd name="connsiteY187" fmla="*/ 15875 h 2359024"/>
              <a:gd name="connsiteX188" fmla="*/ 1122362 w 2316162"/>
              <a:gd name="connsiteY188" fmla="*/ 4762 h 2359024"/>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1368423 h 2359024"/>
              <a:gd name="connsiteX119" fmla="*/ 409575 w 2316162"/>
              <a:gd name="connsiteY119" fmla="*/ 1368423 h 2359024"/>
              <a:gd name="connsiteX120" fmla="*/ 409575 w 2316162"/>
              <a:gd name="connsiteY120" fmla="*/ 1306513 h 2359024"/>
              <a:gd name="connsiteX121" fmla="*/ 406400 w 2316162"/>
              <a:gd name="connsiteY121" fmla="*/ 1284288 h 2359024"/>
              <a:gd name="connsiteX122" fmla="*/ 398463 w 2316162"/>
              <a:gd name="connsiteY122" fmla="*/ 1266825 h 2359024"/>
              <a:gd name="connsiteX123" fmla="*/ 382588 w 2316162"/>
              <a:gd name="connsiteY123" fmla="*/ 1254125 h 2359024"/>
              <a:gd name="connsiteX124" fmla="*/ 365125 w 2316162"/>
              <a:gd name="connsiteY124" fmla="*/ 1247775 h 2359024"/>
              <a:gd name="connsiteX125" fmla="*/ 344488 w 2316162"/>
              <a:gd name="connsiteY125" fmla="*/ 1246188 h 2359024"/>
              <a:gd name="connsiteX126" fmla="*/ 320675 w 2316162"/>
              <a:gd name="connsiteY126" fmla="*/ 1249363 h 2359024"/>
              <a:gd name="connsiteX127" fmla="*/ 295275 w 2316162"/>
              <a:gd name="connsiteY127" fmla="*/ 1257300 h 2359024"/>
              <a:gd name="connsiteX128" fmla="*/ 292100 w 2316162"/>
              <a:gd name="connsiteY128" fmla="*/ 1258888 h 2359024"/>
              <a:gd name="connsiteX129" fmla="*/ 282575 w 2316162"/>
              <a:gd name="connsiteY129" fmla="*/ 1262063 h 2359024"/>
              <a:gd name="connsiteX130" fmla="*/ 266700 w 2316162"/>
              <a:gd name="connsiteY130" fmla="*/ 1265238 h 2359024"/>
              <a:gd name="connsiteX131" fmla="*/ 249238 w 2316162"/>
              <a:gd name="connsiteY131" fmla="*/ 1270000 h 2359024"/>
              <a:gd name="connsiteX132" fmla="*/ 227013 w 2316162"/>
              <a:gd name="connsiteY132" fmla="*/ 1273175 h 2359024"/>
              <a:gd name="connsiteX133" fmla="*/ 204788 w 2316162"/>
              <a:gd name="connsiteY133" fmla="*/ 1277938 h 2359024"/>
              <a:gd name="connsiteX134" fmla="*/ 184150 w 2316162"/>
              <a:gd name="connsiteY134" fmla="*/ 1279525 h 2359024"/>
              <a:gd name="connsiteX135" fmla="*/ 165100 w 2316162"/>
              <a:gd name="connsiteY135" fmla="*/ 1281113 h 2359024"/>
              <a:gd name="connsiteX136" fmla="*/ 127000 w 2316162"/>
              <a:gd name="connsiteY136" fmla="*/ 1276350 h 2359024"/>
              <a:gd name="connsiteX137" fmla="*/ 92075 w 2316162"/>
              <a:gd name="connsiteY137" fmla="*/ 1265238 h 2359024"/>
              <a:gd name="connsiteX138" fmla="*/ 61913 w 2316162"/>
              <a:gd name="connsiteY138" fmla="*/ 1246188 h 2359024"/>
              <a:gd name="connsiteX139" fmla="*/ 36513 w 2316162"/>
              <a:gd name="connsiteY139" fmla="*/ 1220788 h 2359024"/>
              <a:gd name="connsiteX140" fmla="*/ 17463 w 2316162"/>
              <a:gd name="connsiteY140" fmla="*/ 1192213 h 2359024"/>
              <a:gd name="connsiteX141" fmla="*/ 4763 w 2316162"/>
              <a:gd name="connsiteY141" fmla="*/ 1158875 h 2359024"/>
              <a:gd name="connsiteX142" fmla="*/ 0 w 2316162"/>
              <a:gd name="connsiteY142" fmla="*/ 1122362 h 2359024"/>
              <a:gd name="connsiteX143" fmla="*/ 4763 w 2316162"/>
              <a:gd name="connsiteY143" fmla="*/ 1085850 h 2359024"/>
              <a:gd name="connsiteX144" fmla="*/ 17463 w 2316162"/>
              <a:gd name="connsiteY144" fmla="*/ 1052512 h 2359024"/>
              <a:gd name="connsiteX145" fmla="*/ 36513 w 2316162"/>
              <a:gd name="connsiteY145" fmla="*/ 1022350 h 2359024"/>
              <a:gd name="connsiteX146" fmla="*/ 61913 w 2316162"/>
              <a:gd name="connsiteY146" fmla="*/ 998537 h 2359024"/>
              <a:gd name="connsiteX147" fmla="*/ 92075 w 2316162"/>
              <a:gd name="connsiteY147" fmla="*/ 979487 h 2359024"/>
              <a:gd name="connsiteX148" fmla="*/ 127000 w 2316162"/>
              <a:gd name="connsiteY148" fmla="*/ 968375 h 2359024"/>
              <a:gd name="connsiteX149" fmla="*/ 165100 w 2316162"/>
              <a:gd name="connsiteY149" fmla="*/ 963612 h 2359024"/>
              <a:gd name="connsiteX150" fmla="*/ 184150 w 2316162"/>
              <a:gd name="connsiteY150" fmla="*/ 965200 h 2359024"/>
              <a:gd name="connsiteX151" fmla="*/ 206375 w 2316162"/>
              <a:gd name="connsiteY151" fmla="*/ 969962 h 2359024"/>
              <a:gd name="connsiteX152" fmla="*/ 230188 w 2316162"/>
              <a:gd name="connsiteY152" fmla="*/ 976312 h 2359024"/>
              <a:gd name="connsiteX153" fmla="*/ 252413 w 2316162"/>
              <a:gd name="connsiteY153" fmla="*/ 984250 h 2359024"/>
              <a:gd name="connsiteX154" fmla="*/ 273050 w 2316162"/>
              <a:gd name="connsiteY154" fmla="*/ 990600 h 2359024"/>
              <a:gd name="connsiteX155" fmla="*/ 290513 w 2316162"/>
              <a:gd name="connsiteY155" fmla="*/ 996950 h 2359024"/>
              <a:gd name="connsiteX156" fmla="*/ 301625 w 2316162"/>
              <a:gd name="connsiteY156" fmla="*/ 1001712 h 2359024"/>
              <a:gd name="connsiteX157" fmla="*/ 304800 w 2316162"/>
              <a:gd name="connsiteY157" fmla="*/ 1003300 h 2359024"/>
              <a:gd name="connsiteX158" fmla="*/ 333375 w 2316162"/>
              <a:gd name="connsiteY158" fmla="*/ 1011237 h 2359024"/>
              <a:gd name="connsiteX159" fmla="*/ 358775 w 2316162"/>
              <a:gd name="connsiteY159" fmla="*/ 1009650 h 2359024"/>
              <a:gd name="connsiteX160" fmla="*/ 379413 w 2316162"/>
              <a:gd name="connsiteY160" fmla="*/ 1001712 h 2359024"/>
              <a:gd name="connsiteX161" fmla="*/ 396875 w 2316162"/>
              <a:gd name="connsiteY161" fmla="*/ 987425 h 2359024"/>
              <a:gd name="connsiteX162" fmla="*/ 406400 w 2316162"/>
              <a:gd name="connsiteY162" fmla="*/ 965200 h 2359024"/>
              <a:gd name="connsiteX163" fmla="*/ 409575 w 2316162"/>
              <a:gd name="connsiteY163" fmla="*/ 936625 h 2359024"/>
              <a:gd name="connsiteX164" fmla="*/ 409575 w 2316162"/>
              <a:gd name="connsiteY164" fmla="*/ 402374 h 2359024"/>
              <a:gd name="connsiteX165" fmla="*/ 412616 w 2316162"/>
              <a:gd name="connsiteY165" fmla="*/ 402374 h 2359024"/>
              <a:gd name="connsiteX166" fmla="*/ 412616 w 2316162"/>
              <a:gd name="connsiteY166" fmla="*/ 395287 h 2359024"/>
              <a:gd name="connsiteX167" fmla="*/ 969962 w 2316162"/>
              <a:gd name="connsiteY167" fmla="*/ 395287 h 2359024"/>
              <a:gd name="connsiteX168" fmla="*/ 996950 w 2316162"/>
              <a:gd name="connsiteY168" fmla="*/ 392112 h 2359024"/>
              <a:gd name="connsiteX169" fmla="*/ 1020762 w 2316162"/>
              <a:gd name="connsiteY169" fmla="*/ 382587 h 2359024"/>
              <a:gd name="connsiteX170" fmla="*/ 1036637 w 2316162"/>
              <a:gd name="connsiteY170" fmla="*/ 366712 h 2359024"/>
              <a:gd name="connsiteX171" fmla="*/ 1044575 w 2316162"/>
              <a:gd name="connsiteY171" fmla="*/ 346075 h 2359024"/>
              <a:gd name="connsiteX172" fmla="*/ 1046162 w 2316162"/>
              <a:gd name="connsiteY172" fmla="*/ 322262 h 2359024"/>
              <a:gd name="connsiteX173" fmla="*/ 1038225 w 2316162"/>
              <a:gd name="connsiteY173" fmla="*/ 295275 h 2359024"/>
              <a:gd name="connsiteX174" fmla="*/ 1036637 w 2316162"/>
              <a:gd name="connsiteY174" fmla="*/ 290512 h 2359024"/>
              <a:gd name="connsiteX175" fmla="*/ 1031875 w 2316162"/>
              <a:gd name="connsiteY175" fmla="*/ 280987 h 2359024"/>
              <a:gd name="connsiteX176" fmla="*/ 1025525 w 2316162"/>
              <a:gd name="connsiteY176" fmla="*/ 265112 h 2359024"/>
              <a:gd name="connsiteX177" fmla="*/ 1016000 w 2316162"/>
              <a:gd name="connsiteY177" fmla="*/ 244475 h 2359024"/>
              <a:gd name="connsiteX178" fmla="*/ 1008062 w 2316162"/>
              <a:gd name="connsiteY178" fmla="*/ 222250 h 2359024"/>
              <a:gd name="connsiteX179" fmla="*/ 1001712 w 2316162"/>
              <a:gd name="connsiteY179" fmla="*/ 200025 h 2359024"/>
              <a:gd name="connsiteX180" fmla="*/ 996950 w 2316162"/>
              <a:gd name="connsiteY180" fmla="*/ 177800 h 2359024"/>
              <a:gd name="connsiteX181" fmla="*/ 995362 w 2316162"/>
              <a:gd name="connsiteY181" fmla="*/ 158750 h 2359024"/>
              <a:gd name="connsiteX182" fmla="*/ 1000125 w 2316162"/>
              <a:gd name="connsiteY182" fmla="*/ 122237 h 2359024"/>
              <a:gd name="connsiteX183" fmla="*/ 1011237 w 2316162"/>
              <a:gd name="connsiteY183" fmla="*/ 88900 h 2359024"/>
              <a:gd name="connsiteX184" fmla="*/ 1031875 w 2316162"/>
              <a:gd name="connsiteY184" fmla="*/ 60325 h 2359024"/>
              <a:gd name="connsiteX185" fmla="*/ 1057275 w 2316162"/>
              <a:gd name="connsiteY185" fmla="*/ 34925 h 2359024"/>
              <a:gd name="connsiteX186" fmla="*/ 1087437 w 2316162"/>
              <a:gd name="connsiteY186" fmla="*/ 15875 h 2359024"/>
              <a:gd name="connsiteX187" fmla="*/ 1122362 w 2316162"/>
              <a:gd name="connsiteY187" fmla="*/ 4762 h 2359024"/>
              <a:gd name="connsiteX188" fmla="*/ 1160462 w 2316162"/>
              <a:gd name="connsiteY188" fmla="*/ 0 h 2359024"/>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20687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09209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316162" h="2259012">
                <a:moveTo>
                  <a:pt x="1160462" y="0"/>
                </a:moveTo>
                <a:lnTo>
                  <a:pt x="1198562" y="4762"/>
                </a:lnTo>
                <a:lnTo>
                  <a:pt x="1231900" y="15875"/>
                </a:lnTo>
                <a:lnTo>
                  <a:pt x="1262062" y="34925"/>
                </a:lnTo>
                <a:lnTo>
                  <a:pt x="1289050" y="60325"/>
                </a:lnTo>
                <a:lnTo>
                  <a:pt x="1308100" y="88900"/>
                </a:lnTo>
                <a:lnTo>
                  <a:pt x="1320800" y="122237"/>
                </a:lnTo>
                <a:lnTo>
                  <a:pt x="1323975" y="158750"/>
                </a:lnTo>
                <a:lnTo>
                  <a:pt x="1322387" y="177800"/>
                </a:lnTo>
                <a:lnTo>
                  <a:pt x="1317625" y="200025"/>
                </a:lnTo>
                <a:lnTo>
                  <a:pt x="1311275" y="222250"/>
                </a:lnTo>
                <a:lnTo>
                  <a:pt x="1304925" y="244475"/>
                </a:lnTo>
                <a:lnTo>
                  <a:pt x="1296987" y="265112"/>
                </a:lnTo>
                <a:lnTo>
                  <a:pt x="1290637" y="280987"/>
                </a:lnTo>
                <a:lnTo>
                  <a:pt x="1285875" y="290512"/>
                </a:lnTo>
                <a:lnTo>
                  <a:pt x="1282700" y="295275"/>
                </a:lnTo>
                <a:lnTo>
                  <a:pt x="1274762" y="322262"/>
                </a:lnTo>
                <a:lnTo>
                  <a:pt x="1274762" y="346075"/>
                </a:lnTo>
                <a:lnTo>
                  <a:pt x="1285875" y="366712"/>
                </a:lnTo>
                <a:lnTo>
                  <a:pt x="1300162" y="382587"/>
                </a:lnTo>
                <a:lnTo>
                  <a:pt x="1322387" y="392112"/>
                </a:lnTo>
                <a:lnTo>
                  <a:pt x="1350962" y="395287"/>
                </a:lnTo>
                <a:lnTo>
                  <a:pt x="1908175" y="395287"/>
                </a:lnTo>
                <a:lnTo>
                  <a:pt x="1911350" y="477837"/>
                </a:lnTo>
                <a:lnTo>
                  <a:pt x="1911350" y="485775"/>
                </a:lnTo>
                <a:lnTo>
                  <a:pt x="1911350" y="496887"/>
                </a:lnTo>
                <a:lnTo>
                  <a:pt x="1911350" y="506412"/>
                </a:lnTo>
                <a:cubicBezTo>
                  <a:pt x="1910292" y="649816"/>
                  <a:pt x="1909233" y="793221"/>
                  <a:pt x="1908175" y="936625"/>
                </a:cubicBezTo>
                <a:lnTo>
                  <a:pt x="1909762" y="962025"/>
                </a:lnTo>
                <a:lnTo>
                  <a:pt x="1917700" y="981075"/>
                </a:lnTo>
                <a:lnTo>
                  <a:pt x="1930400" y="995362"/>
                </a:lnTo>
                <a:lnTo>
                  <a:pt x="1946275" y="1006475"/>
                </a:lnTo>
                <a:lnTo>
                  <a:pt x="1965325" y="1011237"/>
                </a:lnTo>
                <a:lnTo>
                  <a:pt x="1985962" y="1009650"/>
                </a:lnTo>
                <a:lnTo>
                  <a:pt x="2011362" y="1003300"/>
                </a:lnTo>
                <a:lnTo>
                  <a:pt x="2016125" y="1001712"/>
                </a:lnTo>
                <a:lnTo>
                  <a:pt x="2027237" y="996950"/>
                </a:lnTo>
                <a:lnTo>
                  <a:pt x="2043112" y="990600"/>
                </a:lnTo>
                <a:lnTo>
                  <a:pt x="2063750" y="982662"/>
                </a:lnTo>
                <a:lnTo>
                  <a:pt x="2087562" y="976312"/>
                </a:lnTo>
                <a:lnTo>
                  <a:pt x="2109787" y="969962"/>
                </a:lnTo>
                <a:lnTo>
                  <a:pt x="2132012" y="965200"/>
                </a:lnTo>
                <a:lnTo>
                  <a:pt x="2151062" y="963612"/>
                </a:lnTo>
                <a:lnTo>
                  <a:pt x="2190750" y="968375"/>
                </a:lnTo>
                <a:lnTo>
                  <a:pt x="2224087" y="979487"/>
                </a:lnTo>
                <a:lnTo>
                  <a:pt x="2254250" y="998537"/>
                </a:lnTo>
                <a:lnTo>
                  <a:pt x="2281237" y="1022350"/>
                </a:lnTo>
                <a:lnTo>
                  <a:pt x="2298700" y="1052512"/>
                </a:lnTo>
                <a:lnTo>
                  <a:pt x="2311400" y="1085850"/>
                </a:lnTo>
                <a:lnTo>
                  <a:pt x="2316162" y="1120775"/>
                </a:lnTo>
                <a:lnTo>
                  <a:pt x="2311400" y="1158875"/>
                </a:lnTo>
                <a:lnTo>
                  <a:pt x="2298700" y="1192212"/>
                </a:lnTo>
                <a:lnTo>
                  <a:pt x="2281237" y="1220787"/>
                </a:lnTo>
                <a:lnTo>
                  <a:pt x="2254250" y="1246187"/>
                </a:lnTo>
                <a:lnTo>
                  <a:pt x="2224087" y="1265237"/>
                </a:lnTo>
                <a:lnTo>
                  <a:pt x="2190750" y="1276350"/>
                </a:lnTo>
                <a:lnTo>
                  <a:pt x="2151062" y="1281112"/>
                </a:lnTo>
                <a:lnTo>
                  <a:pt x="2132012" y="1279525"/>
                </a:lnTo>
                <a:lnTo>
                  <a:pt x="2109787" y="1274762"/>
                </a:lnTo>
                <a:lnTo>
                  <a:pt x="2087562" y="1268412"/>
                </a:lnTo>
                <a:lnTo>
                  <a:pt x="2063750" y="1260475"/>
                </a:lnTo>
                <a:lnTo>
                  <a:pt x="2043112" y="1254125"/>
                </a:lnTo>
                <a:lnTo>
                  <a:pt x="2027237" y="1247775"/>
                </a:lnTo>
                <a:lnTo>
                  <a:pt x="2016125" y="1243012"/>
                </a:lnTo>
                <a:lnTo>
                  <a:pt x="2011362" y="1241425"/>
                </a:lnTo>
                <a:lnTo>
                  <a:pt x="1985962" y="1235075"/>
                </a:lnTo>
                <a:lnTo>
                  <a:pt x="1965325" y="1233487"/>
                </a:lnTo>
                <a:lnTo>
                  <a:pt x="1946275" y="1238250"/>
                </a:lnTo>
                <a:lnTo>
                  <a:pt x="1930400" y="1247775"/>
                </a:lnTo>
                <a:lnTo>
                  <a:pt x="1917700" y="1263650"/>
                </a:lnTo>
                <a:lnTo>
                  <a:pt x="1909762" y="1282700"/>
                </a:lnTo>
                <a:lnTo>
                  <a:pt x="1908175" y="1306512"/>
                </a:lnTo>
                <a:cubicBezTo>
                  <a:pt x="1908518" y="1491530"/>
                  <a:pt x="1908860" y="1676547"/>
                  <a:pt x="1909203" y="1861565"/>
                </a:cubicBezTo>
                <a:lnTo>
                  <a:pt x="1358900" y="1862137"/>
                </a:lnTo>
                <a:lnTo>
                  <a:pt x="1331912" y="1866900"/>
                </a:lnTo>
                <a:lnTo>
                  <a:pt x="1309687" y="1878012"/>
                </a:lnTo>
                <a:lnTo>
                  <a:pt x="1293812" y="1892300"/>
                </a:lnTo>
                <a:lnTo>
                  <a:pt x="1285875" y="1912937"/>
                </a:lnTo>
                <a:lnTo>
                  <a:pt x="1282700" y="1936750"/>
                </a:lnTo>
                <a:lnTo>
                  <a:pt x="1292225" y="1963737"/>
                </a:lnTo>
                <a:lnTo>
                  <a:pt x="1293812" y="1968500"/>
                </a:lnTo>
                <a:lnTo>
                  <a:pt x="1298575" y="1978025"/>
                </a:lnTo>
                <a:lnTo>
                  <a:pt x="1304925" y="1993900"/>
                </a:lnTo>
                <a:lnTo>
                  <a:pt x="1312862" y="2014537"/>
                </a:lnTo>
                <a:lnTo>
                  <a:pt x="1320800" y="2035175"/>
                </a:lnTo>
                <a:lnTo>
                  <a:pt x="1327150" y="2058987"/>
                </a:lnTo>
                <a:lnTo>
                  <a:pt x="1331912" y="2081212"/>
                </a:lnTo>
                <a:lnTo>
                  <a:pt x="1333500" y="2098675"/>
                </a:lnTo>
                <a:lnTo>
                  <a:pt x="1328737" y="2136775"/>
                </a:lnTo>
                <a:lnTo>
                  <a:pt x="1316037" y="2170112"/>
                </a:lnTo>
                <a:lnTo>
                  <a:pt x="1298575" y="2198687"/>
                </a:lnTo>
                <a:lnTo>
                  <a:pt x="1271587" y="2222500"/>
                </a:lnTo>
                <a:lnTo>
                  <a:pt x="1241425" y="2243137"/>
                </a:lnTo>
                <a:lnTo>
                  <a:pt x="1208087" y="2254250"/>
                </a:lnTo>
                <a:lnTo>
                  <a:pt x="1168400" y="2259012"/>
                </a:lnTo>
                <a:lnTo>
                  <a:pt x="1131887" y="2254250"/>
                </a:lnTo>
                <a:lnTo>
                  <a:pt x="1096962" y="2243137"/>
                </a:lnTo>
                <a:lnTo>
                  <a:pt x="1066800" y="2222500"/>
                </a:lnTo>
                <a:lnTo>
                  <a:pt x="1041400" y="2198687"/>
                </a:lnTo>
                <a:lnTo>
                  <a:pt x="1022350" y="2170112"/>
                </a:lnTo>
                <a:lnTo>
                  <a:pt x="1009650" y="2136775"/>
                </a:lnTo>
                <a:lnTo>
                  <a:pt x="1004887" y="2098675"/>
                </a:lnTo>
                <a:lnTo>
                  <a:pt x="1006475" y="2081212"/>
                </a:lnTo>
                <a:lnTo>
                  <a:pt x="1011237" y="2058987"/>
                </a:lnTo>
                <a:lnTo>
                  <a:pt x="1019175" y="2035175"/>
                </a:lnTo>
                <a:lnTo>
                  <a:pt x="1027112" y="2014537"/>
                </a:lnTo>
                <a:lnTo>
                  <a:pt x="1033462" y="1993900"/>
                </a:lnTo>
                <a:lnTo>
                  <a:pt x="1039812" y="1978025"/>
                </a:lnTo>
                <a:lnTo>
                  <a:pt x="1044575" y="1968500"/>
                </a:lnTo>
                <a:lnTo>
                  <a:pt x="1046162" y="1963737"/>
                </a:lnTo>
                <a:lnTo>
                  <a:pt x="1054100" y="1936750"/>
                </a:lnTo>
                <a:lnTo>
                  <a:pt x="1054100" y="1912937"/>
                </a:lnTo>
                <a:lnTo>
                  <a:pt x="1046162" y="1892300"/>
                </a:lnTo>
                <a:lnTo>
                  <a:pt x="1030287" y="1878012"/>
                </a:lnTo>
                <a:lnTo>
                  <a:pt x="1006475" y="1866900"/>
                </a:lnTo>
                <a:lnTo>
                  <a:pt x="979487" y="1862137"/>
                </a:lnTo>
                <a:lnTo>
                  <a:pt x="409209" y="1862137"/>
                </a:lnTo>
                <a:lnTo>
                  <a:pt x="411984" y="1368423"/>
                </a:lnTo>
                <a:lnTo>
                  <a:pt x="409575" y="1368423"/>
                </a:lnTo>
                <a:lnTo>
                  <a:pt x="409575" y="1306513"/>
                </a:lnTo>
                <a:lnTo>
                  <a:pt x="406400" y="1284288"/>
                </a:lnTo>
                <a:lnTo>
                  <a:pt x="398463" y="1266825"/>
                </a:lnTo>
                <a:lnTo>
                  <a:pt x="382588" y="1254125"/>
                </a:lnTo>
                <a:lnTo>
                  <a:pt x="365125" y="1247775"/>
                </a:lnTo>
                <a:lnTo>
                  <a:pt x="344488" y="1246188"/>
                </a:lnTo>
                <a:lnTo>
                  <a:pt x="320675" y="1249363"/>
                </a:lnTo>
                <a:lnTo>
                  <a:pt x="295275" y="1257300"/>
                </a:lnTo>
                <a:lnTo>
                  <a:pt x="292100" y="1258888"/>
                </a:lnTo>
                <a:lnTo>
                  <a:pt x="282575" y="1262063"/>
                </a:lnTo>
                <a:lnTo>
                  <a:pt x="266700" y="1265238"/>
                </a:lnTo>
                <a:lnTo>
                  <a:pt x="249238" y="1270000"/>
                </a:lnTo>
                <a:lnTo>
                  <a:pt x="227013" y="1273175"/>
                </a:lnTo>
                <a:lnTo>
                  <a:pt x="204788" y="1277938"/>
                </a:lnTo>
                <a:lnTo>
                  <a:pt x="184150" y="1279525"/>
                </a:lnTo>
                <a:lnTo>
                  <a:pt x="165100" y="1281113"/>
                </a:lnTo>
                <a:lnTo>
                  <a:pt x="127000" y="1276350"/>
                </a:lnTo>
                <a:lnTo>
                  <a:pt x="92075" y="1265238"/>
                </a:lnTo>
                <a:lnTo>
                  <a:pt x="61913" y="1246188"/>
                </a:lnTo>
                <a:lnTo>
                  <a:pt x="36513" y="1220788"/>
                </a:lnTo>
                <a:lnTo>
                  <a:pt x="17463" y="1192213"/>
                </a:lnTo>
                <a:lnTo>
                  <a:pt x="4763" y="1158875"/>
                </a:lnTo>
                <a:lnTo>
                  <a:pt x="0" y="1122362"/>
                </a:lnTo>
                <a:lnTo>
                  <a:pt x="4763" y="1085850"/>
                </a:lnTo>
                <a:lnTo>
                  <a:pt x="17463" y="1052512"/>
                </a:lnTo>
                <a:lnTo>
                  <a:pt x="36513" y="1022350"/>
                </a:lnTo>
                <a:lnTo>
                  <a:pt x="61913" y="998537"/>
                </a:lnTo>
                <a:lnTo>
                  <a:pt x="92075" y="979487"/>
                </a:lnTo>
                <a:lnTo>
                  <a:pt x="127000" y="968375"/>
                </a:lnTo>
                <a:lnTo>
                  <a:pt x="165100" y="963612"/>
                </a:lnTo>
                <a:lnTo>
                  <a:pt x="184150" y="965200"/>
                </a:lnTo>
                <a:lnTo>
                  <a:pt x="206375" y="969962"/>
                </a:lnTo>
                <a:lnTo>
                  <a:pt x="230188" y="976312"/>
                </a:lnTo>
                <a:lnTo>
                  <a:pt x="252413" y="984250"/>
                </a:lnTo>
                <a:lnTo>
                  <a:pt x="273050" y="990600"/>
                </a:lnTo>
                <a:lnTo>
                  <a:pt x="290513" y="996950"/>
                </a:lnTo>
                <a:lnTo>
                  <a:pt x="301625" y="1001712"/>
                </a:lnTo>
                <a:lnTo>
                  <a:pt x="304800" y="1003300"/>
                </a:lnTo>
                <a:lnTo>
                  <a:pt x="333375" y="1011237"/>
                </a:lnTo>
                <a:lnTo>
                  <a:pt x="358775" y="1009650"/>
                </a:lnTo>
                <a:lnTo>
                  <a:pt x="379413" y="1001712"/>
                </a:lnTo>
                <a:lnTo>
                  <a:pt x="396875" y="987425"/>
                </a:lnTo>
                <a:lnTo>
                  <a:pt x="406400" y="965200"/>
                </a:lnTo>
                <a:lnTo>
                  <a:pt x="409575" y="936625"/>
                </a:lnTo>
                <a:lnTo>
                  <a:pt x="409575" y="402374"/>
                </a:lnTo>
                <a:lnTo>
                  <a:pt x="412616" y="402374"/>
                </a:lnTo>
                <a:lnTo>
                  <a:pt x="412616" y="395287"/>
                </a:lnTo>
                <a:lnTo>
                  <a:pt x="969962" y="395287"/>
                </a:lnTo>
                <a:lnTo>
                  <a:pt x="996950" y="392112"/>
                </a:lnTo>
                <a:lnTo>
                  <a:pt x="1020762" y="382587"/>
                </a:lnTo>
                <a:lnTo>
                  <a:pt x="1036637" y="366712"/>
                </a:lnTo>
                <a:lnTo>
                  <a:pt x="1044575" y="346075"/>
                </a:lnTo>
                <a:lnTo>
                  <a:pt x="1046162" y="322262"/>
                </a:lnTo>
                <a:lnTo>
                  <a:pt x="1038225" y="295275"/>
                </a:lnTo>
                <a:lnTo>
                  <a:pt x="1036637" y="290512"/>
                </a:lnTo>
                <a:lnTo>
                  <a:pt x="1031875" y="280987"/>
                </a:lnTo>
                <a:lnTo>
                  <a:pt x="1025525" y="265112"/>
                </a:lnTo>
                <a:lnTo>
                  <a:pt x="1016000" y="244475"/>
                </a:lnTo>
                <a:lnTo>
                  <a:pt x="1008062" y="222250"/>
                </a:lnTo>
                <a:lnTo>
                  <a:pt x="1001712" y="200025"/>
                </a:lnTo>
                <a:lnTo>
                  <a:pt x="996950" y="177800"/>
                </a:lnTo>
                <a:lnTo>
                  <a:pt x="995362" y="158750"/>
                </a:lnTo>
                <a:lnTo>
                  <a:pt x="1000125" y="122237"/>
                </a:lnTo>
                <a:lnTo>
                  <a:pt x="1011237" y="88900"/>
                </a:lnTo>
                <a:lnTo>
                  <a:pt x="1031875" y="60325"/>
                </a:lnTo>
                <a:lnTo>
                  <a:pt x="1057275" y="34925"/>
                </a:lnTo>
                <a:lnTo>
                  <a:pt x="1087437" y="15875"/>
                </a:lnTo>
                <a:lnTo>
                  <a:pt x="1122362" y="4762"/>
                </a:lnTo>
                <a:lnTo>
                  <a:pt x="1160462" y="0"/>
                </a:lnTo>
                <a:close/>
              </a:path>
            </a:pathLst>
          </a:custGeom>
          <a:solidFill>
            <a:schemeClr val="bg1"/>
          </a:solidFill>
          <a:ln w="6350" cap="flat" cmpd="sng" algn="ctr">
            <a:solidFill>
              <a:schemeClr val="accent1"/>
            </a:solidFill>
            <a:prstDash val="solid"/>
          </a:ln>
          <a:effectLst/>
        </p:spPr>
        <p:txBody>
          <a:bodyPr rtlCol="0" anchor="ctr"/>
          <a:lstStyle/>
          <a:p>
            <a:pPr algn="ctr" defTabSz="914240"/>
            <a:endParaRPr lang="en-US" kern="0">
              <a:solidFill>
                <a:prstClr val="white"/>
              </a:solidFill>
              <a:latin typeface="Calibri"/>
            </a:endParaRPr>
          </a:p>
        </p:txBody>
      </p:sp>
      <p:sp>
        <p:nvSpPr>
          <p:cNvPr id="21" name="Freeform 9">
            <a:extLst>
              <a:ext uri="{FF2B5EF4-FFF2-40B4-BE49-F238E27FC236}">
                <a16:creationId xmlns:a16="http://schemas.microsoft.com/office/drawing/2014/main" id="{6C16986D-85F6-432A-94CF-79CDFCD0C65A}"/>
              </a:ext>
            </a:extLst>
          </p:cNvPr>
          <p:cNvSpPr>
            <a:spLocks/>
          </p:cNvSpPr>
          <p:nvPr/>
        </p:nvSpPr>
        <p:spPr bwMode="auto">
          <a:xfrm>
            <a:off x="3971335" y="3174745"/>
            <a:ext cx="992738" cy="1042022"/>
          </a:xfrm>
          <a:custGeom>
            <a:avLst/>
            <a:gdLst>
              <a:gd name="T0" fmla="*/ 642 w 1202"/>
              <a:gd name="T1" fmla="*/ 10 h 1162"/>
              <a:gd name="T2" fmla="*/ 652 w 1202"/>
              <a:gd name="T3" fmla="*/ 64 h 1162"/>
              <a:gd name="T4" fmla="*/ 640 w 1202"/>
              <a:gd name="T5" fmla="*/ 96 h 1162"/>
              <a:gd name="T6" fmla="*/ 626 w 1202"/>
              <a:gd name="T7" fmla="*/ 149 h 1162"/>
              <a:gd name="T8" fmla="*/ 665 w 1202"/>
              <a:gd name="T9" fmla="*/ 227 h 1162"/>
              <a:gd name="T10" fmla="*/ 754 w 1202"/>
              <a:gd name="T11" fmla="*/ 247 h 1162"/>
              <a:gd name="T12" fmla="*/ 822 w 1202"/>
              <a:gd name="T13" fmla="*/ 194 h 1162"/>
              <a:gd name="T14" fmla="*/ 829 w 1202"/>
              <a:gd name="T15" fmla="*/ 124 h 1162"/>
              <a:gd name="T16" fmla="*/ 811 w 1202"/>
              <a:gd name="T17" fmla="*/ 73 h 1162"/>
              <a:gd name="T18" fmla="*/ 803 w 1202"/>
              <a:gd name="T19" fmla="*/ 32 h 1162"/>
              <a:gd name="T20" fmla="*/ 849 w 1202"/>
              <a:gd name="T21" fmla="*/ 0 h 1162"/>
              <a:gd name="T22" fmla="*/ 1200 w 1202"/>
              <a:gd name="T23" fmla="*/ 70 h 1162"/>
              <a:gd name="T24" fmla="*/ 1180 w 1202"/>
              <a:gd name="T25" fmla="*/ 381 h 1162"/>
              <a:gd name="T26" fmla="*/ 1131 w 1202"/>
              <a:gd name="T27" fmla="*/ 381 h 1162"/>
              <a:gd name="T28" fmla="*/ 1087 w 1202"/>
              <a:gd name="T29" fmla="*/ 365 h 1162"/>
              <a:gd name="T30" fmla="*/ 1022 w 1202"/>
              <a:gd name="T31" fmla="*/ 360 h 1162"/>
              <a:gd name="T32" fmla="*/ 953 w 1202"/>
              <a:gd name="T33" fmla="*/ 413 h 1162"/>
              <a:gd name="T34" fmla="*/ 953 w 1202"/>
              <a:gd name="T35" fmla="*/ 501 h 1162"/>
              <a:gd name="T36" fmla="*/ 1022 w 1202"/>
              <a:gd name="T37" fmla="*/ 554 h 1162"/>
              <a:gd name="T38" fmla="*/ 1087 w 1202"/>
              <a:gd name="T39" fmla="*/ 549 h 1162"/>
              <a:gd name="T40" fmla="*/ 1131 w 1202"/>
              <a:gd name="T41" fmla="*/ 533 h 1162"/>
              <a:gd name="T42" fmla="*/ 1175 w 1202"/>
              <a:gd name="T43" fmla="*/ 530 h 1162"/>
              <a:gd name="T44" fmla="*/ 1200 w 1202"/>
              <a:gd name="T45" fmla="*/ 574 h 1162"/>
              <a:gd name="T46" fmla="*/ 1202 w 1202"/>
              <a:gd name="T47" fmla="*/ 913 h 1162"/>
              <a:gd name="T48" fmla="*/ 832 w 1202"/>
              <a:gd name="T49" fmla="*/ 915 h 1162"/>
              <a:gd name="T50" fmla="*/ 801 w 1202"/>
              <a:gd name="T51" fmla="*/ 959 h 1162"/>
              <a:gd name="T52" fmla="*/ 812 w 1202"/>
              <a:gd name="T53" fmla="*/ 989 h 1162"/>
              <a:gd name="T54" fmla="*/ 829 w 1202"/>
              <a:gd name="T55" fmla="*/ 1038 h 1162"/>
              <a:gd name="T56" fmla="*/ 826 w 1202"/>
              <a:gd name="T57" fmla="*/ 1099 h 1162"/>
              <a:gd name="T58" fmla="*/ 787 w 1202"/>
              <a:gd name="T59" fmla="*/ 1146 h 1162"/>
              <a:gd name="T60" fmla="*/ 709 w 1202"/>
              <a:gd name="T61" fmla="*/ 1160 h 1162"/>
              <a:gd name="T62" fmla="*/ 644 w 1202"/>
              <a:gd name="T63" fmla="*/ 1118 h 1162"/>
              <a:gd name="T64" fmla="*/ 626 w 1202"/>
              <a:gd name="T65" fmla="*/ 1062 h 1162"/>
              <a:gd name="T66" fmla="*/ 639 w 1202"/>
              <a:gd name="T67" fmla="*/ 1011 h 1162"/>
              <a:gd name="T68" fmla="*/ 652 w 1202"/>
              <a:gd name="T69" fmla="*/ 977 h 1162"/>
              <a:gd name="T70" fmla="*/ 652 w 1202"/>
              <a:gd name="T71" fmla="*/ 932 h 1162"/>
              <a:gd name="T72" fmla="*/ 329 w 1202"/>
              <a:gd name="T73" fmla="*/ 913 h 1162"/>
              <a:gd name="T74" fmla="*/ 256 w 1202"/>
              <a:gd name="T75" fmla="*/ 558 h 1162"/>
              <a:gd name="T76" fmla="*/ 221 w 1202"/>
              <a:gd name="T77" fmla="*/ 527 h 1162"/>
              <a:gd name="T78" fmla="*/ 182 w 1202"/>
              <a:gd name="T79" fmla="*/ 536 h 1162"/>
              <a:gd name="T80" fmla="*/ 131 w 1202"/>
              <a:gd name="T81" fmla="*/ 553 h 1162"/>
              <a:gd name="T82" fmla="*/ 58 w 1202"/>
              <a:gd name="T83" fmla="*/ 547 h 1162"/>
              <a:gd name="T84" fmla="*/ 3 w 1202"/>
              <a:gd name="T85" fmla="*/ 480 h 1162"/>
              <a:gd name="T86" fmla="*/ 24 w 1202"/>
              <a:gd name="T87" fmla="*/ 394 h 1162"/>
              <a:gd name="T88" fmla="*/ 104 w 1202"/>
              <a:gd name="T89" fmla="*/ 357 h 1162"/>
              <a:gd name="T90" fmla="*/ 159 w 1202"/>
              <a:gd name="T91" fmla="*/ 370 h 1162"/>
              <a:gd name="T92" fmla="*/ 193 w 1202"/>
              <a:gd name="T93" fmla="*/ 382 h 1162"/>
              <a:gd name="T94" fmla="*/ 249 w 1202"/>
              <a:gd name="T95" fmla="*/ 372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1162">
                <a:moveTo>
                  <a:pt x="258" y="0"/>
                </a:moveTo>
                <a:lnTo>
                  <a:pt x="610" y="0"/>
                </a:lnTo>
                <a:lnTo>
                  <a:pt x="627" y="3"/>
                </a:lnTo>
                <a:lnTo>
                  <a:pt x="642" y="10"/>
                </a:lnTo>
                <a:lnTo>
                  <a:pt x="652" y="19"/>
                </a:lnTo>
                <a:lnTo>
                  <a:pt x="657" y="32"/>
                </a:lnTo>
                <a:lnTo>
                  <a:pt x="657" y="47"/>
                </a:lnTo>
                <a:lnTo>
                  <a:pt x="652" y="64"/>
                </a:lnTo>
                <a:lnTo>
                  <a:pt x="651" y="67"/>
                </a:lnTo>
                <a:lnTo>
                  <a:pt x="648" y="73"/>
                </a:lnTo>
                <a:lnTo>
                  <a:pt x="644" y="83"/>
                </a:lnTo>
                <a:lnTo>
                  <a:pt x="640" y="96"/>
                </a:lnTo>
                <a:lnTo>
                  <a:pt x="635" y="109"/>
                </a:lnTo>
                <a:lnTo>
                  <a:pt x="630" y="124"/>
                </a:lnTo>
                <a:lnTo>
                  <a:pt x="627" y="138"/>
                </a:lnTo>
                <a:lnTo>
                  <a:pt x="626" y="149"/>
                </a:lnTo>
                <a:lnTo>
                  <a:pt x="629" y="173"/>
                </a:lnTo>
                <a:lnTo>
                  <a:pt x="637" y="194"/>
                </a:lnTo>
                <a:lnTo>
                  <a:pt x="649" y="212"/>
                </a:lnTo>
                <a:lnTo>
                  <a:pt x="665" y="227"/>
                </a:lnTo>
                <a:lnTo>
                  <a:pt x="684" y="240"/>
                </a:lnTo>
                <a:lnTo>
                  <a:pt x="706" y="247"/>
                </a:lnTo>
                <a:lnTo>
                  <a:pt x="729" y="250"/>
                </a:lnTo>
                <a:lnTo>
                  <a:pt x="754" y="247"/>
                </a:lnTo>
                <a:lnTo>
                  <a:pt x="775" y="240"/>
                </a:lnTo>
                <a:lnTo>
                  <a:pt x="794" y="227"/>
                </a:lnTo>
                <a:lnTo>
                  <a:pt x="811" y="212"/>
                </a:lnTo>
                <a:lnTo>
                  <a:pt x="822" y="194"/>
                </a:lnTo>
                <a:lnTo>
                  <a:pt x="830" y="173"/>
                </a:lnTo>
                <a:lnTo>
                  <a:pt x="833" y="149"/>
                </a:lnTo>
                <a:lnTo>
                  <a:pt x="832" y="138"/>
                </a:lnTo>
                <a:lnTo>
                  <a:pt x="829" y="124"/>
                </a:lnTo>
                <a:lnTo>
                  <a:pt x="825" y="109"/>
                </a:lnTo>
                <a:lnTo>
                  <a:pt x="820" y="96"/>
                </a:lnTo>
                <a:lnTo>
                  <a:pt x="815" y="83"/>
                </a:lnTo>
                <a:lnTo>
                  <a:pt x="811" y="73"/>
                </a:lnTo>
                <a:lnTo>
                  <a:pt x="808" y="67"/>
                </a:lnTo>
                <a:lnTo>
                  <a:pt x="807" y="64"/>
                </a:lnTo>
                <a:lnTo>
                  <a:pt x="801" y="47"/>
                </a:lnTo>
                <a:lnTo>
                  <a:pt x="803" y="32"/>
                </a:lnTo>
                <a:lnTo>
                  <a:pt x="808" y="19"/>
                </a:lnTo>
                <a:lnTo>
                  <a:pt x="818" y="10"/>
                </a:lnTo>
                <a:lnTo>
                  <a:pt x="832" y="3"/>
                </a:lnTo>
                <a:lnTo>
                  <a:pt x="849" y="0"/>
                </a:lnTo>
                <a:lnTo>
                  <a:pt x="1202" y="0"/>
                </a:lnTo>
                <a:lnTo>
                  <a:pt x="1202" y="55"/>
                </a:lnTo>
                <a:lnTo>
                  <a:pt x="1201" y="63"/>
                </a:lnTo>
                <a:lnTo>
                  <a:pt x="1200" y="70"/>
                </a:lnTo>
                <a:lnTo>
                  <a:pt x="1200" y="340"/>
                </a:lnTo>
                <a:lnTo>
                  <a:pt x="1198" y="358"/>
                </a:lnTo>
                <a:lnTo>
                  <a:pt x="1190" y="372"/>
                </a:lnTo>
                <a:lnTo>
                  <a:pt x="1180" y="381"/>
                </a:lnTo>
                <a:lnTo>
                  <a:pt x="1167" y="386"/>
                </a:lnTo>
                <a:lnTo>
                  <a:pt x="1152" y="387"/>
                </a:lnTo>
                <a:lnTo>
                  <a:pt x="1134" y="382"/>
                </a:lnTo>
                <a:lnTo>
                  <a:pt x="1131" y="381"/>
                </a:lnTo>
                <a:lnTo>
                  <a:pt x="1124" y="378"/>
                </a:lnTo>
                <a:lnTo>
                  <a:pt x="1114" y="374"/>
                </a:lnTo>
                <a:lnTo>
                  <a:pt x="1101" y="370"/>
                </a:lnTo>
                <a:lnTo>
                  <a:pt x="1087" y="365"/>
                </a:lnTo>
                <a:lnTo>
                  <a:pt x="1072" y="361"/>
                </a:lnTo>
                <a:lnTo>
                  <a:pt x="1058" y="358"/>
                </a:lnTo>
                <a:lnTo>
                  <a:pt x="1046" y="357"/>
                </a:lnTo>
                <a:lnTo>
                  <a:pt x="1022" y="360"/>
                </a:lnTo>
                <a:lnTo>
                  <a:pt x="1000" y="367"/>
                </a:lnTo>
                <a:lnTo>
                  <a:pt x="981" y="379"/>
                </a:lnTo>
                <a:lnTo>
                  <a:pt x="965" y="394"/>
                </a:lnTo>
                <a:lnTo>
                  <a:pt x="953" y="413"/>
                </a:lnTo>
                <a:lnTo>
                  <a:pt x="945" y="434"/>
                </a:lnTo>
                <a:lnTo>
                  <a:pt x="942" y="456"/>
                </a:lnTo>
                <a:lnTo>
                  <a:pt x="945" y="480"/>
                </a:lnTo>
                <a:lnTo>
                  <a:pt x="953" y="501"/>
                </a:lnTo>
                <a:lnTo>
                  <a:pt x="965" y="520"/>
                </a:lnTo>
                <a:lnTo>
                  <a:pt x="981" y="535"/>
                </a:lnTo>
                <a:lnTo>
                  <a:pt x="1000" y="547"/>
                </a:lnTo>
                <a:lnTo>
                  <a:pt x="1022" y="554"/>
                </a:lnTo>
                <a:lnTo>
                  <a:pt x="1046" y="557"/>
                </a:lnTo>
                <a:lnTo>
                  <a:pt x="1058" y="556"/>
                </a:lnTo>
                <a:lnTo>
                  <a:pt x="1072" y="553"/>
                </a:lnTo>
                <a:lnTo>
                  <a:pt x="1087" y="549"/>
                </a:lnTo>
                <a:lnTo>
                  <a:pt x="1101" y="544"/>
                </a:lnTo>
                <a:lnTo>
                  <a:pt x="1114" y="540"/>
                </a:lnTo>
                <a:lnTo>
                  <a:pt x="1124" y="536"/>
                </a:lnTo>
                <a:lnTo>
                  <a:pt x="1131" y="533"/>
                </a:lnTo>
                <a:lnTo>
                  <a:pt x="1134" y="532"/>
                </a:lnTo>
                <a:lnTo>
                  <a:pt x="1150" y="528"/>
                </a:lnTo>
                <a:lnTo>
                  <a:pt x="1163" y="527"/>
                </a:lnTo>
                <a:lnTo>
                  <a:pt x="1175" y="530"/>
                </a:lnTo>
                <a:lnTo>
                  <a:pt x="1185" y="536"/>
                </a:lnTo>
                <a:lnTo>
                  <a:pt x="1193" y="546"/>
                </a:lnTo>
                <a:lnTo>
                  <a:pt x="1198" y="558"/>
                </a:lnTo>
                <a:lnTo>
                  <a:pt x="1200" y="574"/>
                </a:lnTo>
                <a:lnTo>
                  <a:pt x="1200" y="844"/>
                </a:lnTo>
                <a:lnTo>
                  <a:pt x="1201" y="851"/>
                </a:lnTo>
                <a:lnTo>
                  <a:pt x="1202" y="859"/>
                </a:lnTo>
                <a:lnTo>
                  <a:pt x="1202" y="913"/>
                </a:lnTo>
                <a:lnTo>
                  <a:pt x="1130" y="913"/>
                </a:lnTo>
                <a:lnTo>
                  <a:pt x="1129" y="913"/>
                </a:lnTo>
                <a:lnTo>
                  <a:pt x="849" y="913"/>
                </a:lnTo>
                <a:lnTo>
                  <a:pt x="832" y="915"/>
                </a:lnTo>
                <a:lnTo>
                  <a:pt x="818" y="922"/>
                </a:lnTo>
                <a:lnTo>
                  <a:pt x="808" y="932"/>
                </a:lnTo>
                <a:lnTo>
                  <a:pt x="803" y="945"/>
                </a:lnTo>
                <a:lnTo>
                  <a:pt x="801" y="959"/>
                </a:lnTo>
                <a:lnTo>
                  <a:pt x="807" y="977"/>
                </a:lnTo>
                <a:lnTo>
                  <a:pt x="808" y="977"/>
                </a:lnTo>
                <a:lnTo>
                  <a:pt x="809" y="981"/>
                </a:lnTo>
                <a:lnTo>
                  <a:pt x="812" y="989"/>
                </a:lnTo>
                <a:lnTo>
                  <a:pt x="816" y="999"/>
                </a:lnTo>
                <a:lnTo>
                  <a:pt x="821" y="1011"/>
                </a:lnTo>
                <a:lnTo>
                  <a:pt x="825" y="1024"/>
                </a:lnTo>
                <a:lnTo>
                  <a:pt x="829" y="1038"/>
                </a:lnTo>
                <a:lnTo>
                  <a:pt x="832" y="1051"/>
                </a:lnTo>
                <a:lnTo>
                  <a:pt x="833" y="1062"/>
                </a:lnTo>
                <a:lnTo>
                  <a:pt x="831" y="1080"/>
                </a:lnTo>
                <a:lnTo>
                  <a:pt x="826" y="1099"/>
                </a:lnTo>
                <a:lnTo>
                  <a:pt x="818" y="1114"/>
                </a:lnTo>
                <a:lnTo>
                  <a:pt x="815" y="1118"/>
                </a:lnTo>
                <a:lnTo>
                  <a:pt x="803" y="1133"/>
                </a:lnTo>
                <a:lnTo>
                  <a:pt x="787" y="1146"/>
                </a:lnTo>
                <a:lnTo>
                  <a:pt x="770" y="1155"/>
                </a:lnTo>
                <a:lnTo>
                  <a:pt x="751" y="1160"/>
                </a:lnTo>
                <a:lnTo>
                  <a:pt x="729" y="1162"/>
                </a:lnTo>
                <a:lnTo>
                  <a:pt x="709" y="1160"/>
                </a:lnTo>
                <a:lnTo>
                  <a:pt x="689" y="1155"/>
                </a:lnTo>
                <a:lnTo>
                  <a:pt x="672" y="1146"/>
                </a:lnTo>
                <a:lnTo>
                  <a:pt x="657" y="1133"/>
                </a:lnTo>
                <a:lnTo>
                  <a:pt x="644" y="1118"/>
                </a:lnTo>
                <a:lnTo>
                  <a:pt x="642" y="1114"/>
                </a:lnTo>
                <a:lnTo>
                  <a:pt x="633" y="1099"/>
                </a:lnTo>
                <a:lnTo>
                  <a:pt x="628" y="1080"/>
                </a:lnTo>
                <a:lnTo>
                  <a:pt x="626" y="1062"/>
                </a:lnTo>
                <a:lnTo>
                  <a:pt x="627" y="1051"/>
                </a:lnTo>
                <a:lnTo>
                  <a:pt x="630" y="1038"/>
                </a:lnTo>
                <a:lnTo>
                  <a:pt x="635" y="1024"/>
                </a:lnTo>
                <a:lnTo>
                  <a:pt x="639" y="1011"/>
                </a:lnTo>
                <a:lnTo>
                  <a:pt x="643" y="999"/>
                </a:lnTo>
                <a:lnTo>
                  <a:pt x="648" y="989"/>
                </a:lnTo>
                <a:lnTo>
                  <a:pt x="651" y="981"/>
                </a:lnTo>
                <a:lnTo>
                  <a:pt x="652" y="977"/>
                </a:lnTo>
                <a:lnTo>
                  <a:pt x="653" y="977"/>
                </a:lnTo>
                <a:lnTo>
                  <a:pt x="657" y="959"/>
                </a:lnTo>
                <a:lnTo>
                  <a:pt x="657" y="945"/>
                </a:lnTo>
                <a:lnTo>
                  <a:pt x="652" y="932"/>
                </a:lnTo>
                <a:lnTo>
                  <a:pt x="642" y="922"/>
                </a:lnTo>
                <a:lnTo>
                  <a:pt x="627" y="915"/>
                </a:lnTo>
                <a:lnTo>
                  <a:pt x="609" y="913"/>
                </a:lnTo>
                <a:lnTo>
                  <a:pt x="329" y="913"/>
                </a:lnTo>
                <a:lnTo>
                  <a:pt x="329" y="913"/>
                </a:lnTo>
                <a:lnTo>
                  <a:pt x="258" y="913"/>
                </a:lnTo>
                <a:lnTo>
                  <a:pt x="258" y="574"/>
                </a:lnTo>
                <a:lnTo>
                  <a:pt x="256" y="558"/>
                </a:lnTo>
                <a:lnTo>
                  <a:pt x="252" y="546"/>
                </a:lnTo>
                <a:lnTo>
                  <a:pt x="244" y="536"/>
                </a:lnTo>
                <a:lnTo>
                  <a:pt x="233" y="530"/>
                </a:lnTo>
                <a:lnTo>
                  <a:pt x="221" y="527"/>
                </a:lnTo>
                <a:lnTo>
                  <a:pt x="208" y="528"/>
                </a:lnTo>
                <a:lnTo>
                  <a:pt x="193" y="532"/>
                </a:lnTo>
                <a:lnTo>
                  <a:pt x="190" y="533"/>
                </a:lnTo>
                <a:lnTo>
                  <a:pt x="182" y="536"/>
                </a:lnTo>
                <a:lnTo>
                  <a:pt x="172" y="540"/>
                </a:lnTo>
                <a:lnTo>
                  <a:pt x="159" y="544"/>
                </a:lnTo>
                <a:lnTo>
                  <a:pt x="145" y="549"/>
                </a:lnTo>
                <a:lnTo>
                  <a:pt x="131" y="553"/>
                </a:lnTo>
                <a:lnTo>
                  <a:pt x="116" y="556"/>
                </a:lnTo>
                <a:lnTo>
                  <a:pt x="104" y="557"/>
                </a:lnTo>
                <a:lnTo>
                  <a:pt x="81" y="554"/>
                </a:lnTo>
                <a:lnTo>
                  <a:pt x="58" y="547"/>
                </a:lnTo>
                <a:lnTo>
                  <a:pt x="39" y="535"/>
                </a:lnTo>
                <a:lnTo>
                  <a:pt x="24" y="520"/>
                </a:lnTo>
                <a:lnTo>
                  <a:pt x="11" y="501"/>
                </a:lnTo>
                <a:lnTo>
                  <a:pt x="3" y="480"/>
                </a:lnTo>
                <a:lnTo>
                  <a:pt x="0" y="456"/>
                </a:lnTo>
                <a:lnTo>
                  <a:pt x="3" y="434"/>
                </a:lnTo>
                <a:lnTo>
                  <a:pt x="11" y="413"/>
                </a:lnTo>
                <a:lnTo>
                  <a:pt x="24" y="394"/>
                </a:lnTo>
                <a:lnTo>
                  <a:pt x="39" y="379"/>
                </a:lnTo>
                <a:lnTo>
                  <a:pt x="58" y="367"/>
                </a:lnTo>
                <a:lnTo>
                  <a:pt x="81" y="360"/>
                </a:lnTo>
                <a:lnTo>
                  <a:pt x="104" y="357"/>
                </a:lnTo>
                <a:lnTo>
                  <a:pt x="116" y="358"/>
                </a:lnTo>
                <a:lnTo>
                  <a:pt x="131" y="361"/>
                </a:lnTo>
                <a:lnTo>
                  <a:pt x="145" y="365"/>
                </a:lnTo>
                <a:lnTo>
                  <a:pt x="159" y="370"/>
                </a:lnTo>
                <a:lnTo>
                  <a:pt x="172" y="374"/>
                </a:lnTo>
                <a:lnTo>
                  <a:pt x="182" y="378"/>
                </a:lnTo>
                <a:lnTo>
                  <a:pt x="190" y="381"/>
                </a:lnTo>
                <a:lnTo>
                  <a:pt x="193" y="382"/>
                </a:lnTo>
                <a:lnTo>
                  <a:pt x="210" y="387"/>
                </a:lnTo>
                <a:lnTo>
                  <a:pt x="225" y="386"/>
                </a:lnTo>
                <a:lnTo>
                  <a:pt x="238" y="381"/>
                </a:lnTo>
                <a:lnTo>
                  <a:pt x="249" y="372"/>
                </a:lnTo>
                <a:lnTo>
                  <a:pt x="256" y="358"/>
                </a:lnTo>
                <a:lnTo>
                  <a:pt x="258" y="340"/>
                </a:lnTo>
                <a:lnTo>
                  <a:pt x="258" y="0"/>
                </a:lnTo>
                <a:close/>
              </a:path>
            </a:pathLst>
          </a:custGeom>
          <a:gradFill flip="none" rotWithShape="1">
            <a:gsLst>
              <a:gs pos="0">
                <a:srgbClr val="00B451">
                  <a:shade val="30000"/>
                  <a:satMod val="115000"/>
                </a:srgbClr>
              </a:gs>
              <a:gs pos="50000">
                <a:srgbClr val="00B451">
                  <a:shade val="67500"/>
                  <a:satMod val="115000"/>
                </a:srgbClr>
              </a:gs>
              <a:gs pos="100000">
                <a:srgbClr val="00B451">
                  <a:shade val="100000"/>
                  <a:satMod val="115000"/>
                </a:srgbClr>
              </a:gs>
            </a:gsLst>
            <a:lin ang="2700000" scaled="1"/>
            <a:tileRect/>
          </a:gradFill>
          <a:ln w="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24" name="TextBox 23">
            <a:extLst>
              <a:ext uri="{FF2B5EF4-FFF2-40B4-BE49-F238E27FC236}">
                <a16:creationId xmlns:a16="http://schemas.microsoft.com/office/drawing/2014/main" id="{FDA1DDC7-4F57-42CA-BD99-88984DA9FBEF}"/>
              </a:ext>
            </a:extLst>
          </p:cNvPr>
          <p:cNvSpPr txBox="1"/>
          <p:nvPr/>
        </p:nvSpPr>
        <p:spPr>
          <a:xfrm>
            <a:off x="4191310" y="2538167"/>
            <a:ext cx="761381" cy="553998"/>
          </a:xfrm>
          <a:prstGeom prst="rect">
            <a:avLst/>
          </a:prstGeom>
          <a:noFill/>
        </p:spPr>
        <p:txBody>
          <a:bodyPr wrap="square" rtlCol="0">
            <a:spAutoFit/>
          </a:bodyPr>
          <a:lstStyle/>
          <a:p>
            <a:pPr algn="ctr" defTabSz="914240"/>
            <a:r>
              <a:rPr lang="en-US" sz="1500" b="1" dirty="0">
                <a:cs typeface="Arial" panose="020B0604020202020204" pitchFamily="34" charset="0"/>
              </a:rPr>
              <a:t>SAP</a:t>
            </a:r>
          </a:p>
          <a:p>
            <a:pPr algn="ctr" defTabSz="914240"/>
            <a:r>
              <a:rPr lang="en-US" sz="1500" b="1" dirty="0">
                <a:cs typeface="Arial" panose="020B0604020202020204" pitchFamily="34" charset="0"/>
              </a:rPr>
              <a:t>CORE</a:t>
            </a:r>
          </a:p>
        </p:txBody>
      </p:sp>
      <p:sp>
        <p:nvSpPr>
          <p:cNvPr id="47" name="TextBox 46">
            <a:extLst>
              <a:ext uri="{FF2B5EF4-FFF2-40B4-BE49-F238E27FC236}">
                <a16:creationId xmlns:a16="http://schemas.microsoft.com/office/drawing/2014/main" id="{E0712C3E-A8D2-43E6-A40B-160B5480741E}"/>
              </a:ext>
            </a:extLst>
          </p:cNvPr>
          <p:cNvSpPr txBox="1"/>
          <p:nvPr/>
        </p:nvSpPr>
        <p:spPr>
          <a:xfrm>
            <a:off x="2551192" y="1399198"/>
            <a:ext cx="761381" cy="323165"/>
          </a:xfrm>
          <a:prstGeom prst="rect">
            <a:avLst/>
          </a:prstGeom>
          <a:noFill/>
        </p:spPr>
        <p:txBody>
          <a:bodyPr wrap="square" rtlCol="0">
            <a:spAutoFit/>
          </a:bodyPr>
          <a:lstStyle/>
          <a:p>
            <a:pPr algn="ctr" defTabSz="914240"/>
            <a:r>
              <a:rPr lang="en-US" sz="1500" b="1" dirty="0">
                <a:cs typeface="Arial" panose="020B0604020202020204" pitchFamily="34" charset="0"/>
              </a:rPr>
              <a:t>BCM</a:t>
            </a:r>
          </a:p>
        </p:txBody>
      </p:sp>
      <p:sp>
        <p:nvSpPr>
          <p:cNvPr id="49" name="TextBox 48">
            <a:extLst>
              <a:ext uri="{FF2B5EF4-FFF2-40B4-BE49-F238E27FC236}">
                <a16:creationId xmlns:a16="http://schemas.microsoft.com/office/drawing/2014/main" id="{21CF7327-1348-4BD5-95C8-22B2370D65BB}"/>
              </a:ext>
            </a:extLst>
          </p:cNvPr>
          <p:cNvSpPr txBox="1"/>
          <p:nvPr/>
        </p:nvSpPr>
        <p:spPr>
          <a:xfrm>
            <a:off x="4117231" y="3409599"/>
            <a:ext cx="761381" cy="369332"/>
          </a:xfrm>
          <a:prstGeom prst="rect">
            <a:avLst/>
          </a:prstGeom>
          <a:noFill/>
        </p:spPr>
        <p:txBody>
          <a:bodyPr wrap="square" rtlCol="0">
            <a:spAutoFit/>
          </a:bodyPr>
          <a:lstStyle/>
          <a:p>
            <a:pPr algn="ctr" defTabSz="914240"/>
            <a:r>
              <a:rPr lang="en-US" sz="900" b="1" dirty="0">
                <a:cs typeface="Arial" panose="020B0604020202020204" pitchFamily="34" charset="0"/>
              </a:rPr>
              <a:t>Inhouse Cash</a:t>
            </a:r>
          </a:p>
        </p:txBody>
      </p:sp>
      <p:sp>
        <p:nvSpPr>
          <p:cNvPr id="55" name="Freeform 11">
            <a:extLst>
              <a:ext uri="{FF2B5EF4-FFF2-40B4-BE49-F238E27FC236}">
                <a16:creationId xmlns:a16="http://schemas.microsoft.com/office/drawing/2014/main" id="{05A1D725-591A-41DF-BB66-EC6A596022D6}"/>
              </a:ext>
            </a:extLst>
          </p:cNvPr>
          <p:cNvSpPr>
            <a:spLocks/>
          </p:cNvSpPr>
          <p:nvPr/>
        </p:nvSpPr>
        <p:spPr bwMode="auto">
          <a:xfrm>
            <a:off x="4952692" y="2141068"/>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6" name="TextBox 55">
            <a:extLst>
              <a:ext uri="{FF2B5EF4-FFF2-40B4-BE49-F238E27FC236}">
                <a16:creationId xmlns:a16="http://schemas.microsoft.com/office/drawing/2014/main" id="{A5018920-BB8F-422A-8E02-7BFAD4E76D57}"/>
              </a:ext>
            </a:extLst>
          </p:cNvPr>
          <p:cNvSpPr txBox="1"/>
          <p:nvPr/>
        </p:nvSpPr>
        <p:spPr>
          <a:xfrm>
            <a:off x="5012431" y="2627297"/>
            <a:ext cx="761381" cy="369332"/>
          </a:xfrm>
          <a:prstGeom prst="rect">
            <a:avLst/>
          </a:prstGeom>
          <a:noFill/>
        </p:spPr>
        <p:txBody>
          <a:bodyPr wrap="square" rtlCol="0">
            <a:spAutoFit/>
          </a:bodyPr>
          <a:lstStyle/>
          <a:p>
            <a:pPr algn="ctr" defTabSz="914240"/>
            <a:r>
              <a:rPr lang="en-US" sz="900" b="1" dirty="0">
                <a:cs typeface="Arial" panose="020B0604020202020204" pitchFamily="34" charset="0"/>
              </a:rPr>
              <a:t>Credit Control</a:t>
            </a:r>
          </a:p>
        </p:txBody>
      </p:sp>
      <p:sp>
        <p:nvSpPr>
          <p:cNvPr id="57" name="Freeform 11">
            <a:extLst>
              <a:ext uri="{FF2B5EF4-FFF2-40B4-BE49-F238E27FC236}">
                <a16:creationId xmlns:a16="http://schemas.microsoft.com/office/drawing/2014/main" id="{D535185F-835C-44B0-A996-3D5C09EEA134}"/>
              </a:ext>
            </a:extLst>
          </p:cNvPr>
          <p:cNvSpPr>
            <a:spLocks/>
          </p:cNvSpPr>
          <p:nvPr/>
        </p:nvSpPr>
        <p:spPr bwMode="auto">
          <a:xfrm>
            <a:off x="6325631" y="2185977"/>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8" name="TextBox 57">
            <a:extLst>
              <a:ext uri="{FF2B5EF4-FFF2-40B4-BE49-F238E27FC236}">
                <a16:creationId xmlns:a16="http://schemas.microsoft.com/office/drawing/2014/main" id="{704CD13E-7AF5-4FE2-A150-36C02C076194}"/>
              </a:ext>
            </a:extLst>
          </p:cNvPr>
          <p:cNvSpPr txBox="1"/>
          <p:nvPr/>
        </p:nvSpPr>
        <p:spPr>
          <a:xfrm>
            <a:off x="6386078" y="2495993"/>
            <a:ext cx="761381" cy="369332"/>
          </a:xfrm>
          <a:prstGeom prst="rect">
            <a:avLst/>
          </a:prstGeom>
          <a:noFill/>
        </p:spPr>
        <p:txBody>
          <a:bodyPr wrap="square" rtlCol="0">
            <a:spAutoFit/>
          </a:bodyPr>
          <a:lstStyle/>
          <a:p>
            <a:pPr algn="ctr" defTabSz="914240"/>
            <a:r>
              <a:rPr lang="en-US" sz="900" b="1" dirty="0">
                <a:cs typeface="Arial" panose="020B0604020202020204" pitchFamily="34" charset="0"/>
              </a:rPr>
              <a:t>Collection</a:t>
            </a:r>
          </a:p>
          <a:p>
            <a:pPr algn="ctr" defTabSz="914240"/>
            <a:r>
              <a:rPr lang="en-US" sz="900" b="1" dirty="0" err="1">
                <a:cs typeface="Arial" panose="020B0604020202020204" pitchFamily="34" charset="0"/>
              </a:rPr>
              <a:t>Mgmt</a:t>
            </a:r>
            <a:endParaRPr lang="en-US" sz="900" b="1" dirty="0">
              <a:cs typeface="Arial" panose="020B0604020202020204" pitchFamily="34" charset="0"/>
            </a:endParaRPr>
          </a:p>
        </p:txBody>
      </p:sp>
      <p:sp>
        <p:nvSpPr>
          <p:cNvPr id="59" name="Freeform 7">
            <a:extLst>
              <a:ext uri="{FF2B5EF4-FFF2-40B4-BE49-F238E27FC236}">
                <a16:creationId xmlns:a16="http://schemas.microsoft.com/office/drawing/2014/main" id="{89F66EE3-6ED9-41B1-A6B3-7931339D80B6}"/>
              </a:ext>
            </a:extLst>
          </p:cNvPr>
          <p:cNvSpPr>
            <a:spLocks/>
          </p:cNvSpPr>
          <p:nvPr/>
        </p:nvSpPr>
        <p:spPr bwMode="auto">
          <a:xfrm>
            <a:off x="5833871" y="3475407"/>
            <a:ext cx="993564" cy="1042919"/>
          </a:xfrm>
          <a:custGeom>
            <a:avLst/>
            <a:gdLst>
              <a:gd name="T0" fmla="*/ 776 w 1203"/>
              <a:gd name="T1" fmla="*/ 10 h 1163"/>
              <a:gd name="T2" fmla="*/ 824 w 1203"/>
              <a:gd name="T3" fmla="*/ 56 h 1163"/>
              <a:gd name="T4" fmla="*/ 833 w 1203"/>
              <a:gd name="T5" fmla="*/ 112 h 1163"/>
              <a:gd name="T6" fmla="*/ 821 w 1203"/>
              <a:gd name="T7" fmla="*/ 154 h 1163"/>
              <a:gd name="T8" fmla="*/ 810 w 1203"/>
              <a:gd name="T9" fmla="*/ 183 h 1163"/>
              <a:gd name="T10" fmla="*/ 804 w 1203"/>
              <a:gd name="T11" fmla="*/ 218 h 1163"/>
              <a:gd name="T12" fmla="*/ 833 w 1203"/>
              <a:gd name="T13" fmla="*/ 246 h 1163"/>
              <a:gd name="T14" fmla="*/ 1203 w 1203"/>
              <a:gd name="T15" fmla="*/ 589 h 1163"/>
              <a:gd name="T16" fmla="*/ 1184 w 1203"/>
              <a:gd name="T17" fmla="*/ 630 h 1163"/>
              <a:gd name="T18" fmla="*/ 1137 w 1203"/>
              <a:gd name="T19" fmla="*/ 631 h 1163"/>
              <a:gd name="T20" fmla="*/ 1117 w 1203"/>
              <a:gd name="T21" fmla="*/ 623 h 1163"/>
              <a:gd name="T22" fmla="*/ 1075 w 1203"/>
              <a:gd name="T23" fmla="*/ 610 h 1163"/>
              <a:gd name="T24" fmla="*/ 1025 w 1203"/>
              <a:gd name="T25" fmla="*/ 609 h 1163"/>
              <a:gd name="T26" fmla="*/ 968 w 1203"/>
              <a:gd name="T27" fmla="*/ 643 h 1163"/>
              <a:gd name="T28" fmla="*/ 945 w 1203"/>
              <a:gd name="T29" fmla="*/ 706 h 1163"/>
              <a:gd name="T30" fmla="*/ 968 w 1203"/>
              <a:gd name="T31" fmla="*/ 768 h 1163"/>
              <a:gd name="T32" fmla="*/ 1025 w 1203"/>
              <a:gd name="T33" fmla="*/ 803 h 1163"/>
              <a:gd name="T34" fmla="*/ 1074 w 1203"/>
              <a:gd name="T35" fmla="*/ 804 h 1163"/>
              <a:gd name="T36" fmla="*/ 1113 w 1203"/>
              <a:gd name="T37" fmla="*/ 796 h 1163"/>
              <a:gd name="T38" fmla="*/ 1131 w 1203"/>
              <a:gd name="T39" fmla="*/ 791 h 1163"/>
              <a:gd name="T40" fmla="*/ 1175 w 1203"/>
              <a:gd name="T41" fmla="*/ 785 h 1163"/>
              <a:gd name="T42" fmla="*/ 1201 w 1203"/>
              <a:gd name="T43" fmla="*/ 808 h 1163"/>
              <a:gd name="T44" fmla="*/ 1147 w 1203"/>
              <a:gd name="T45" fmla="*/ 1163 h 1163"/>
              <a:gd name="T46" fmla="*/ 851 w 1203"/>
              <a:gd name="T47" fmla="*/ 1161 h 1163"/>
              <a:gd name="T48" fmla="*/ 809 w 1203"/>
              <a:gd name="T49" fmla="*/ 1143 h 1163"/>
              <a:gd name="T50" fmla="*/ 809 w 1203"/>
              <a:gd name="T51" fmla="*/ 1098 h 1163"/>
              <a:gd name="T52" fmla="*/ 817 w 1203"/>
              <a:gd name="T53" fmla="*/ 1079 h 1163"/>
              <a:gd name="T54" fmla="*/ 830 w 1203"/>
              <a:gd name="T55" fmla="*/ 1038 h 1163"/>
              <a:gd name="T56" fmla="*/ 831 w 1203"/>
              <a:gd name="T57" fmla="*/ 989 h 1163"/>
              <a:gd name="T58" fmla="*/ 795 w 1203"/>
              <a:gd name="T59" fmla="*/ 934 h 1163"/>
              <a:gd name="T60" fmla="*/ 730 w 1203"/>
              <a:gd name="T61" fmla="*/ 912 h 1163"/>
              <a:gd name="T62" fmla="*/ 666 w 1203"/>
              <a:gd name="T63" fmla="*/ 934 h 1163"/>
              <a:gd name="T64" fmla="*/ 630 w 1203"/>
              <a:gd name="T65" fmla="*/ 989 h 1163"/>
              <a:gd name="T66" fmla="*/ 631 w 1203"/>
              <a:gd name="T67" fmla="*/ 1038 h 1163"/>
              <a:gd name="T68" fmla="*/ 645 w 1203"/>
              <a:gd name="T69" fmla="*/ 1079 h 1163"/>
              <a:gd name="T70" fmla="*/ 653 w 1203"/>
              <a:gd name="T71" fmla="*/ 1098 h 1163"/>
              <a:gd name="T72" fmla="*/ 653 w 1203"/>
              <a:gd name="T73" fmla="*/ 1143 h 1163"/>
              <a:gd name="T74" fmla="*/ 610 w 1203"/>
              <a:gd name="T75" fmla="*/ 1161 h 1163"/>
              <a:gd name="T76" fmla="*/ 315 w 1203"/>
              <a:gd name="T77" fmla="*/ 1163 h 1163"/>
              <a:gd name="T78" fmla="*/ 256 w 1203"/>
              <a:gd name="T79" fmla="*/ 805 h 1163"/>
              <a:gd name="T80" fmla="*/ 226 w 1203"/>
              <a:gd name="T81" fmla="*/ 777 h 1163"/>
              <a:gd name="T82" fmla="*/ 193 w 1203"/>
              <a:gd name="T83" fmla="*/ 781 h 1163"/>
              <a:gd name="T84" fmla="*/ 170 w 1203"/>
              <a:gd name="T85" fmla="*/ 790 h 1163"/>
              <a:gd name="T86" fmla="*/ 129 w 1203"/>
              <a:gd name="T87" fmla="*/ 802 h 1163"/>
              <a:gd name="T88" fmla="*/ 85 w 1203"/>
              <a:gd name="T89" fmla="*/ 804 h 1163"/>
              <a:gd name="T90" fmla="*/ 46 w 1203"/>
              <a:gd name="T91" fmla="*/ 789 h 1163"/>
              <a:gd name="T92" fmla="*/ 8 w 1203"/>
              <a:gd name="T93" fmla="*/ 745 h 1163"/>
              <a:gd name="T94" fmla="*/ 2 w 1203"/>
              <a:gd name="T95" fmla="*/ 686 h 1163"/>
              <a:gd name="T96" fmla="*/ 31 w 1203"/>
              <a:gd name="T97" fmla="*/ 635 h 1163"/>
              <a:gd name="T98" fmla="*/ 66 w 1203"/>
              <a:gd name="T99" fmla="*/ 613 h 1163"/>
              <a:gd name="T100" fmla="*/ 116 w 1203"/>
              <a:gd name="T101" fmla="*/ 607 h 1163"/>
              <a:gd name="T102" fmla="*/ 157 w 1203"/>
              <a:gd name="T103" fmla="*/ 618 h 1163"/>
              <a:gd name="T104" fmla="*/ 189 w 1203"/>
              <a:gd name="T105" fmla="*/ 629 h 1163"/>
              <a:gd name="T106" fmla="*/ 210 w 1203"/>
              <a:gd name="T107" fmla="*/ 636 h 1163"/>
              <a:gd name="T108" fmla="*/ 250 w 1203"/>
              <a:gd name="T109" fmla="*/ 621 h 1163"/>
              <a:gd name="T110" fmla="*/ 258 w 1203"/>
              <a:gd name="T111" fmla="*/ 249 h 1163"/>
              <a:gd name="T112" fmla="*/ 643 w 1203"/>
              <a:gd name="T113" fmla="*/ 240 h 1163"/>
              <a:gd name="T114" fmla="*/ 658 w 1203"/>
              <a:gd name="T115" fmla="*/ 203 h 1163"/>
              <a:gd name="T116" fmla="*/ 649 w 1203"/>
              <a:gd name="T117" fmla="*/ 176 h 1163"/>
              <a:gd name="T118" fmla="*/ 636 w 1203"/>
              <a:gd name="T119" fmla="*/ 139 h 1163"/>
              <a:gd name="T120" fmla="*/ 627 w 1203"/>
              <a:gd name="T121" fmla="*/ 100 h 1163"/>
              <a:gd name="T122" fmla="*/ 650 w 1203"/>
              <a:gd name="T123" fmla="*/ 37 h 1163"/>
              <a:gd name="T124" fmla="*/ 707 w 1203"/>
              <a:gd name="T125"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3" h="1163">
                <a:moveTo>
                  <a:pt x="730" y="0"/>
                </a:moveTo>
                <a:lnTo>
                  <a:pt x="755" y="2"/>
                </a:lnTo>
                <a:lnTo>
                  <a:pt x="776" y="10"/>
                </a:lnTo>
                <a:lnTo>
                  <a:pt x="795" y="21"/>
                </a:lnTo>
                <a:lnTo>
                  <a:pt x="812" y="37"/>
                </a:lnTo>
                <a:lnTo>
                  <a:pt x="824" y="56"/>
                </a:lnTo>
                <a:lnTo>
                  <a:pt x="831" y="76"/>
                </a:lnTo>
                <a:lnTo>
                  <a:pt x="834" y="100"/>
                </a:lnTo>
                <a:lnTo>
                  <a:pt x="833" y="112"/>
                </a:lnTo>
                <a:lnTo>
                  <a:pt x="830" y="125"/>
                </a:lnTo>
                <a:lnTo>
                  <a:pt x="826" y="139"/>
                </a:lnTo>
                <a:lnTo>
                  <a:pt x="821" y="154"/>
                </a:lnTo>
                <a:lnTo>
                  <a:pt x="817" y="166"/>
                </a:lnTo>
                <a:lnTo>
                  <a:pt x="813" y="176"/>
                </a:lnTo>
                <a:lnTo>
                  <a:pt x="810" y="183"/>
                </a:lnTo>
                <a:lnTo>
                  <a:pt x="809" y="185"/>
                </a:lnTo>
                <a:lnTo>
                  <a:pt x="804" y="203"/>
                </a:lnTo>
                <a:lnTo>
                  <a:pt x="804" y="218"/>
                </a:lnTo>
                <a:lnTo>
                  <a:pt x="809" y="230"/>
                </a:lnTo>
                <a:lnTo>
                  <a:pt x="819" y="240"/>
                </a:lnTo>
                <a:lnTo>
                  <a:pt x="833" y="246"/>
                </a:lnTo>
                <a:lnTo>
                  <a:pt x="851" y="249"/>
                </a:lnTo>
                <a:lnTo>
                  <a:pt x="1203" y="249"/>
                </a:lnTo>
                <a:lnTo>
                  <a:pt x="1203" y="589"/>
                </a:lnTo>
                <a:lnTo>
                  <a:pt x="1201" y="607"/>
                </a:lnTo>
                <a:lnTo>
                  <a:pt x="1195" y="621"/>
                </a:lnTo>
                <a:lnTo>
                  <a:pt x="1184" y="630"/>
                </a:lnTo>
                <a:lnTo>
                  <a:pt x="1171" y="635"/>
                </a:lnTo>
                <a:lnTo>
                  <a:pt x="1155" y="636"/>
                </a:lnTo>
                <a:lnTo>
                  <a:pt x="1137" y="631"/>
                </a:lnTo>
                <a:lnTo>
                  <a:pt x="1135" y="630"/>
                </a:lnTo>
                <a:lnTo>
                  <a:pt x="1128" y="627"/>
                </a:lnTo>
                <a:lnTo>
                  <a:pt x="1117" y="623"/>
                </a:lnTo>
                <a:lnTo>
                  <a:pt x="1104" y="619"/>
                </a:lnTo>
                <a:lnTo>
                  <a:pt x="1090" y="614"/>
                </a:lnTo>
                <a:lnTo>
                  <a:pt x="1075" y="610"/>
                </a:lnTo>
                <a:lnTo>
                  <a:pt x="1061" y="607"/>
                </a:lnTo>
                <a:lnTo>
                  <a:pt x="1049" y="606"/>
                </a:lnTo>
                <a:lnTo>
                  <a:pt x="1025" y="609"/>
                </a:lnTo>
                <a:lnTo>
                  <a:pt x="1003" y="616"/>
                </a:lnTo>
                <a:lnTo>
                  <a:pt x="984" y="628"/>
                </a:lnTo>
                <a:lnTo>
                  <a:pt x="968" y="643"/>
                </a:lnTo>
                <a:lnTo>
                  <a:pt x="956" y="662"/>
                </a:lnTo>
                <a:lnTo>
                  <a:pt x="948" y="683"/>
                </a:lnTo>
                <a:lnTo>
                  <a:pt x="945" y="706"/>
                </a:lnTo>
                <a:lnTo>
                  <a:pt x="948" y="729"/>
                </a:lnTo>
                <a:lnTo>
                  <a:pt x="956" y="750"/>
                </a:lnTo>
                <a:lnTo>
                  <a:pt x="968" y="768"/>
                </a:lnTo>
                <a:lnTo>
                  <a:pt x="984" y="784"/>
                </a:lnTo>
                <a:lnTo>
                  <a:pt x="1003" y="796"/>
                </a:lnTo>
                <a:lnTo>
                  <a:pt x="1025" y="803"/>
                </a:lnTo>
                <a:lnTo>
                  <a:pt x="1049" y="806"/>
                </a:lnTo>
                <a:lnTo>
                  <a:pt x="1061" y="805"/>
                </a:lnTo>
                <a:lnTo>
                  <a:pt x="1074" y="804"/>
                </a:lnTo>
                <a:lnTo>
                  <a:pt x="1088" y="801"/>
                </a:lnTo>
                <a:lnTo>
                  <a:pt x="1102" y="799"/>
                </a:lnTo>
                <a:lnTo>
                  <a:pt x="1113" y="796"/>
                </a:lnTo>
                <a:lnTo>
                  <a:pt x="1123" y="794"/>
                </a:lnTo>
                <a:lnTo>
                  <a:pt x="1129" y="792"/>
                </a:lnTo>
                <a:lnTo>
                  <a:pt x="1131" y="791"/>
                </a:lnTo>
                <a:lnTo>
                  <a:pt x="1147" y="786"/>
                </a:lnTo>
                <a:lnTo>
                  <a:pt x="1162" y="784"/>
                </a:lnTo>
                <a:lnTo>
                  <a:pt x="1175" y="785"/>
                </a:lnTo>
                <a:lnTo>
                  <a:pt x="1186" y="789"/>
                </a:lnTo>
                <a:lnTo>
                  <a:pt x="1196" y="797"/>
                </a:lnTo>
                <a:lnTo>
                  <a:pt x="1201" y="808"/>
                </a:lnTo>
                <a:lnTo>
                  <a:pt x="1203" y="822"/>
                </a:lnTo>
                <a:lnTo>
                  <a:pt x="1203" y="1163"/>
                </a:lnTo>
                <a:lnTo>
                  <a:pt x="1147" y="1163"/>
                </a:lnTo>
                <a:lnTo>
                  <a:pt x="1140" y="1162"/>
                </a:lnTo>
                <a:lnTo>
                  <a:pt x="1131" y="1161"/>
                </a:lnTo>
                <a:lnTo>
                  <a:pt x="851" y="1161"/>
                </a:lnTo>
                <a:lnTo>
                  <a:pt x="833" y="1159"/>
                </a:lnTo>
                <a:lnTo>
                  <a:pt x="819" y="1153"/>
                </a:lnTo>
                <a:lnTo>
                  <a:pt x="809" y="1143"/>
                </a:lnTo>
                <a:lnTo>
                  <a:pt x="804" y="1130"/>
                </a:lnTo>
                <a:lnTo>
                  <a:pt x="804" y="1114"/>
                </a:lnTo>
                <a:lnTo>
                  <a:pt x="809" y="1098"/>
                </a:lnTo>
                <a:lnTo>
                  <a:pt x="810" y="1095"/>
                </a:lnTo>
                <a:lnTo>
                  <a:pt x="813" y="1089"/>
                </a:lnTo>
                <a:lnTo>
                  <a:pt x="817" y="1079"/>
                </a:lnTo>
                <a:lnTo>
                  <a:pt x="821" y="1066"/>
                </a:lnTo>
                <a:lnTo>
                  <a:pt x="826" y="1052"/>
                </a:lnTo>
                <a:lnTo>
                  <a:pt x="830" y="1038"/>
                </a:lnTo>
                <a:lnTo>
                  <a:pt x="833" y="1024"/>
                </a:lnTo>
                <a:lnTo>
                  <a:pt x="834" y="1013"/>
                </a:lnTo>
                <a:lnTo>
                  <a:pt x="831" y="989"/>
                </a:lnTo>
                <a:lnTo>
                  <a:pt x="824" y="968"/>
                </a:lnTo>
                <a:lnTo>
                  <a:pt x="812" y="950"/>
                </a:lnTo>
                <a:lnTo>
                  <a:pt x="795" y="934"/>
                </a:lnTo>
                <a:lnTo>
                  <a:pt x="776" y="922"/>
                </a:lnTo>
                <a:lnTo>
                  <a:pt x="755" y="915"/>
                </a:lnTo>
                <a:lnTo>
                  <a:pt x="730" y="912"/>
                </a:lnTo>
                <a:lnTo>
                  <a:pt x="707" y="915"/>
                </a:lnTo>
                <a:lnTo>
                  <a:pt x="685" y="922"/>
                </a:lnTo>
                <a:lnTo>
                  <a:pt x="666" y="934"/>
                </a:lnTo>
                <a:lnTo>
                  <a:pt x="650" y="950"/>
                </a:lnTo>
                <a:lnTo>
                  <a:pt x="638" y="968"/>
                </a:lnTo>
                <a:lnTo>
                  <a:pt x="630" y="989"/>
                </a:lnTo>
                <a:lnTo>
                  <a:pt x="627" y="1013"/>
                </a:lnTo>
                <a:lnTo>
                  <a:pt x="628" y="1024"/>
                </a:lnTo>
                <a:lnTo>
                  <a:pt x="631" y="1038"/>
                </a:lnTo>
                <a:lnTo>
                  <a:pt x="636" y="1052"/>
                </a:lnTo>
                <a:lnTo>
                  <a:pt x="641" y="1066"/>
                </a:lnTo>
                <a:lnTo>
                  <a:pt x="645" y="1079"/>
                </a:lnTo>
                <a:lnTo>
                  <a:pt x="649" y="1089"/>
                </a:lnTo>
                <a:lnTo>
                  <a:pt x="652" y="1095"/>
                </a:lnTo>
                <a:lnTo>
                  <a:pt x="653" y="1098"/>
                </a:lnTo>
                <a:lnTo>
                  <a:pt x="658" y="1114"/>
                </a:lnTo>
                <a:lnTo>
                  <a:pt x="658" y="1130"/>
                </a:lnTo>
                <a:lnTo>
                  <a:pt x="653" y="1143"/>
                </a:lnTo>
                <a:lnTo>
                  <a:pt x="643" y="1153"/>
                </a:lnTo>
                <a:lnTo>
                  <a:pt x="628" y="1159"/>
                </a:lnTo>
                <a:lnTo>
                  <a:pt x="610" y="1161"/>
                </a:lnTo>
                <a:lnTo>
                  <a:pt x="330" y="1161"/>
                </a:lnTo>
                <a:lnTo>
                  <a:pt x="322" y="1162"/>
                </a:lnTo>
                <a:lnTo>
                  <a:pt x="315" y="1163"/>
                </a:lnTo>
                <a:lnTo>
                  <a:pt x="258" y="1163"/>
                </a:lnTo>
                <a:lnTo>
                  <a:pt x="258" y="822"/>
                </a:lnTo>
                <a:lnTo>
                  <a:pt x="256" y="805"/>
                </a:lnTo>
                <a:lnTo>
                  <a:pt x="250" y="792"/>
                </a:lnTo>
                <a:lnTo>
                  <a:pt x="239" y="782"/>
                </a:lnTo>
                <a:lnTo>
                  <a:pt x="226" y="777"/>
                </a:lnTo>
                <a:lnTo>
                  <a:pt x="210" y="776"/>
                </a:lnTo>
                <a:lnTo>
                  <a:pt x="193" y="781"/>
                </a:lnTo>
                <a:lnTo>
                  <a:pt x="193" y="781"/>
                </a:lnTo>
                <a:lnTo>
                  <a:pt x="189" y="783"/>
                </a:lnTo>
                <a:lnTo>
                  <a:pt x="180" y="786"/>
                </a:lnTo>
                <a:lnTo>
                  <a:pt x="170" y="790"/>
                </a:lnTo>
                <a:lnTo>
                  <a:pt x="157" y="794"/>
                </a:lnTo>
                <a:lnTo>
                  <a:pt x="143" y="799"/>
                </a:lnTo>
                <a:lnTo>
                  <a:pt x="129" y="802"/>
                </a:lnTo>
                <a:lnTo>
                  <a:pt x="116" y="805"/>
                </a:lnTo>
                <a:lnTo>
                  <a:pt x="104" y="806"/>
                </a:lnTo>
                <a:lnTo>
                  <a:pt x="85" y="804"/>
                </a:lnTo>
                <a:lnTo>
                  <a:pt x="66" y="799"/>
                </a:lnTo>
                <a:lnTo>
                  <a:pt x="50" y="792"/>
                </a:lnTo>
                <a:lnTo>
                  <a:pt x="46" y="789"/>
                </a:lnTo>
                <a:lnTo>
                  <a:pt x="31" y="777"/>
                </a:lnTo>
                <a:lnTo>
                  <a:pt x="19" y="762"/>
                </a:lnTo>
                <a:lnTo>
                  <a:pt x="8" y="745"/>
                </a:lnTo>
                <a:lnTo>
                  <a:pt x="2" y="726"/>
                </a:lnTo>
                <a:lnTo>
                  <a:pt x="0" y="706"/>
                </a:lnTo>
                <a:lnTo>
                  <a:pt x="2" y="686"/>
                </a:lnTo>
                <a:lnTo>
                  <a:pt x="8" y="667"/>
                </a:lnTo>
                <a:lnTo>
                  <a:pt x="19" y="650"/>
                </a:lnTo>
                <a:lnTo>
                  <a:pt x="31" y="635"/>
                </a:lnTo>
                <a:lnTo>
                  <a:pt x="46" y="623"/>
                </a:lnTo>
                <a:lnTo>
                  <a:pt x="50" y="621"/>
                </a:lnTo>
                <a:lnTo>
                  <a:pt x="66" y="613"/>
                </a:lnTo>
                <a:lnTo>
                  <a:pt x="85" y="608"/>
                </a:lnTo>
                <a:lnTo>
                  <a:pt x="104" y="606"/>
                </a:lnTo>
                <a:lnTo>
                  <a:pt x="116" y="607"/>
                </a:lnTo>
                <a:lnTo>
                  <a:pt x="129" y="610"/>
                </a:lnTo>
                <a:lnTo>
                  <a:pt x="143" y="614"/>
                </a:lnTo>
                <a:lnTo>
                  <a:pt x="157" y="618"/>
                </a:lnTo>
                <a:lnTo>
                  <a:pt x="170" y="622"/>
                </a:lnTo>
                <a:lnTo>
                  <a:pt x="180" y="626"/>
                </a:lnTo>
                <a:lnTo>
                  <a:pt x="189" y="629"/>
                </a:lnTo>
                <a:lnTo>
                  <a:pt x="193" y="631"/>
                </a:lnTo>
                <a:lnTo>
                  <a:pt x="193" y="631"/>
                </a:lnTo>
                <a:lnTo>
                  <a:pt x="210" y="636"/>
                </a:lnTo>
                <a:lnTo>
                  <a:pt x="226" y="635"/>
                </a:lnTo>
                <a:lnTo>
                  <a:pt x="239" y="630"/>
                </a:lnTo>
                <a:lnTo>
                  <a:pt x="250" y="621"/>
                </a:lnTo>
                <a:lnTo>
                  <a:pt x="256" y="607"/>
                </a:lnTo>
                <a:lnTo>
                  <a:pt x="258" y="589"/>
                </a:lnTo>
                <a:lnTo>
                  <a:pt x="258" y="249"/>
                </a:lnTo>
                <a:lnTo>
                  <a:pt x="610" y="249"/>
                </a:lnTo>
                <a:lnTo>
                  <a:pt x="628" y="246"/>
                </a:lnTo>
                <a:lnTo>
                  <a:pt x="643" y="240"/>
                </a:lnTo>
                <a:lnTo>
                  <a:pt x="653" y="230"/>
                </a:lnTo>
                <a:lnTo>
                  <a:pt x="658" y="218"/>
                </a:lnTo>
                <a:lnTo>
                  <a:pt x="658" y="203"/>
                </a:lnTo>
                <a:lnTo>
                  <a:pt x="653" y="185"/>
                </a:lnTo>
                <a:lnTo>
                  <a:pt x="652" y="183"/>
                </a:lnTo>
                <a:lnTo>
                  <a:pt x="649" y="176"/>
                </a:lnTo>
                <a:lnTo>
                  <a:pt x="645" y="166"/>
                </a:lnTo>
                <a:lnTo>
                  <a:pt x="641" y="154"/>
                </a:lnTo>
                <a:lnTo>
                  <a:pt x="636" y="139"/>
                </a:lnTo>
                <a:lnTo>
                  <a:pt x="631" y="125"/>
                </a:lnTo>
                <a:lnTo>
                  <a:pt x="628" y="112"/>
                </a:lnTo>
                <a:lnTo>
                  <a:pt x="627" y="100"/>
                </a:lnTo>
                <a:lnTo>
                  <a:pt x="630" y="76"/>
                </a:lnTo>
                <a:lnTo>
                  <a:pt x="638" y="56"/>
                </a:lnTo>
                <a:lnTo>
                  <a:pt x="650" y="37"/>
                </a:lnTo>
                <a:lnTo>
                  <a:pt x="666" y="21"/>
                </a:lnTo>
                <a:lnTo>
                  <a:pt x="685" y="10"/>
                </a:lnTo>
                <a:lnTo>
                  <a:pt x="707" y="2"/>
                </a:lnTo>
                <a:lnTo>
                  <a:pt x="730" y="0"/>
                </a:ln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60" name="TextBox 59">
            <a:extLst>
              <a:ext uri="{FF2B5EF4-FFF2-40B4-BE49-F238E27FC236}">
                <a16:creationId xmlns:a16="http://schemas.microsoft.com/office/drawing/2014/main" id="{9D345AEE-A88A-40FA-A9F8-A9ED572BB4D4}"/>
              </a:ext>
            </a:extLst>
          </p:cNvPr>
          <p:cNvSpPr txBox="1"/>
          <p:nvPr/>
        </p:nvSpPr>
        <p:spPr>
          <a:xfrm>
            <a:off x="5924909" y="3710921"/>
            <a:ext cx="992738" cy="369332"/>
          </a:xfrm>
          <a:prstGeom prst="rect">
            <a:avLst/>
          </a:prstGeom>
          <a:noFill/>
        </p:spPr>
        <p:txBody>
          <a:bodyPr wrap="square" rtlCol="0">
            <a:spAutoFit/>
          </a:bodyPr>
          <a:lstStyle/>
          <a:p>
            <a:pPr algn="ctr" defTabSz="914240"/>
            <a:r>
              <a:rPr lang="en-US" sz="900" b="1" dirty="0">
                <a:cs typeface="Arial" panose="020B0604020202020204" pitchFamily="34" charset="0"/>
              </a:rPr>
              <a:t>Dispute</a:t>
            </a:r>
          </a:p>
          <a:p>
            <a:pPr algn="ctr" defTabSz="914240"/>
            <a:r>
              <a:rPr lang="en-US" sz="900" b="1" dirty="0" err="1">
                <a:cs typeface="Arial" panose="020B0604020202020204" pitchFamily="34" charset="0"/>
              </a:rPr>
              <a:t>Mgmt</a:t>
            </a:r>
            <a:endParaRPr lang="en-US" sz="900" b="1" dirty="0">
              <a:cs typeface="Arial" panose="020B0604020202020204" pitchFamily="34" charset="0"/>
            </a:endParaRPr>
          </a:p>
        </p:txBody>
      </p:sp>
      <p:sp>
        <p:nvSpPr>
          <p:cNvPr id="23" name="Freeform 11">
            <a:extLst>
              <a:ext uri="{FF2B5EF4-FFF2-40B4-BE49-F238E27FC236}">
                <a16:creationId xmlns:a16="http://schemas.microsoft.com/office/drawing/2014/main" id="{E9A5052B-7406-4B6F-8C0C-75AC711D04D5}"/>
              </a:ext>
            </a:extLst>
          </p:cNvPr>
          <p:cNvSpPr>
            <a:spLocks/>
          </p:cNvSpPr>
          <p:nvPr/>
        </p:nvSpPr>
        <p:spPr bwMode="auto">
          <a:xfrm>
            <a:off x="2613127" y="3287722"/>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2" name="TextBox 51">
            <a:extLst>
              <a:ext uri="{FF2B5EF4-FFF2-40B4-BE49-F238E27FC236}">
                <a16:creationId xmlns:a16="http://schemas.microsoft.com/office/drawing/2014/main" id="{7B1E7462-EC8F-44DE-94DE-567DBB5E9FC1}"/>
              </a:ext>
            </a:extLst>
          </p:cNvPr>
          <p:cNvSpPr txBox="1"/>
          <p:nvPr/>
        </p:nvSpPr>
        <p:spPr>
          <a:xfrm>
            <a:off x="2590059" y="3497448"/>
            <a:ext cx="857804" cy="646331"/>
          </a:xfrm>
          <a:prstGeom prst="rect">
            <a:avLst/>
          </a:prstGeom>
          <a:noFill/>
        </p:spPr>
        <p:txBody>
          <a:bodyPr wrap="square" rtlCol="0">
            <a:spAutoFit/>
          </a:bodyPr>
          <a:lstStyle/>
          <a:p>
            <a:pPr algn="ctr" defTabSz="914240"/>
            <a:r>
              <a:rPr lang="en-US" sz="900" b="1" dirty="0">
                <a:cs typeface="Arial" panose="020B0604020202020204" pitchFamily="34" charset="0"/>
              </a:rPr>
              <a:t>Cash Accounting</a:t>
            </a:r>
          </a:p>
          <a:p>
            <a:pPr algn="ctr" defTabSz="914240"/>
            <a:r>
              <a:rPr lang="en-US" sz="900" b="1" dirty="0">
                <a:cs typeface="Arial" panose="020B0604020202020204" pitchFamily="34" charset="0"/>
              </a:rPr>
              <a:t>   Rule Based</a:t>
            </a:r>
          </a:p>
        </p:txBody>
      </p:sp>
      <p:sp>
        <p:nvSpPr>
          <p:cNvPr id="20" name="Freeform 7">
            <a:extLst>
              <a:ext uri="{FF2B5EF4-FFF2-40B4-BE49-F238E27FC236}">
                <a16:creationId xmlns:a16="http://schemas.microsoft.com/office/drawing/2014/main" id="{C3F7FD5B-C069-4908-B950-FECF9AD5BD08}"/>
              </a:ext>
            </a:extLst>
          </p:cNvPr>
          <p:cNvSpPr>
            <a:spLocks/>
          </p:cNvSpPr>
          <p:nvPr/>
        </p:nvSpPr>
        <p:spPr bwMode="auto">
          <a:xfrm>
            <a:off x="1866194" y="2300804"/>
            <a:ext cx="993564" cy="1042919"/>
          </a:xfrm>
          <a:custGeom>
            <a:avLst/>
            <a:gdLst>
              <a:gd name="T0" fmla="*/ 776 w 1203"/>
              <a:gd name="T1" fmla="*/ 10 h 1163"/>
              <a:gd name="T2" fmla="*/ 824 w 1203"/>
              <a:gd name="T3" fmla="*/ 56 h 1163"/>
              <a:gd name="T4" fmla="*/ 833 w 1203"/>
              <a:gd name="T5" fmla="*/ 112 h 1163"/>
              <a:gd name="T6" fmla="*/ 821 w 1203"/>
              <a:gd name="T7" fmla="*/ 154 h 1163"/>
              <a:gd name="T8" fmla="*/ 810 w 1203"/>
              <a:gd name="T9" fmla="*/ 183 h 1163"/>
              <a:gd name="T10" fmla="*/ 804 w 1203"/>
              <a:gd name="T11" fmla="*/ 218 h 1163"/>
              <a:gd name="T12" fmla="*/ 833 w 1203"/>
              <a:gd name="T13" fmla="*/ 246 h 1163"/>
              <a:gd name="T14" fmla="*/ 1203 w 1203"/>
              <a:gd name="T15" fmla="*/ 589 h 1163"/>
              <a:gd name="T16" fmla="*/ 1184 w 1203"/>
              <a:gd name="T17" fmla="*/ 630 h 1163"/>
              <a:gd name="T18" fmla="*/ 1137 w 1203"/>
              <a:gd name="T19" fmla="*/ 631 h 1163"/>
              <a:gd name="T20" fmla="*/ 1117 w 1203"/>
              <a:gd name="T21" fmla="*/ 623 h 1163"/>
              <a:gd name="T22" fmla="*/ 1075 w 1203"/>
              <a:gd name="T23" fmla="*/ 610 h 1163"/>
              <a:gd name="T24" fmla="*/ 1025 w 1203"/>
              <a:gd name="T25" fmla="*/ 609 h 1163"/>
              <a:gd name="T26" fmla="*/ 968 w 1203"/>
              <a:gd name="T27" fmla="*/ 643 h 1163"/>
              <a:gd name="T28" fmla="*/ 945 w 1203"/>
              <a:gd name="T29" fmla="*/ 706 h 1163"/>
              <a:gd name="T30" fmla="*/ 968 w 1203"/>
              <a:gd name="T31" fmla="*/ 768 h 1163"/>
              <a:gd name="T32" fmla="*/ 1025 w 1203"/>
              <a:gd name="T33" fmla="*/ 803 h 1163"/>
              <a:gd name="T34" fmla="*/ 1074 w 1203"/>
              <a:gd name="T35" fmla="*/ 804 h 1163"/>
              <a:gd name="T36" fmla="*/ 1113 w 1203"/>
              <a:gd name="T37" fmla="*/ 796 h 1163"/>
              <a:gd name="T38" fmla="*/ 1131 w 1203"/>
              <a:gd name="T39" fmla="*/ 791 h 1163"/>
              <a:gd name="T40" fmla="*/ 1175 w 1203"/>
              <a:gd name="T41" fmla="*/ 785 h 1163"/>
              <a:gd name="T42" fmla="*/ 1201 w 1203"/>
              <a:gd name="T43" fmla="*/ 808 h 1163"/>
              <a:gd name="T44" fmla="*/ 1147 w 1203"/>
              <a:gd name="T45" fmla="*/ 1163 h 1163"/>
              <a:gd name="T46" fmla="*/ 851 w 1203"/>
              <a:gd name="T47" fmla="*/ 1161 h 1163"/>
              <a:gd name="T48" fmla="*/ 809 w 1203"/>
              <a:gd name="T49" fmla="*/ 1143 h 1163"/>
              <a:gd name="T50" fmla="*/ 809 w 1203"/>
              <a:gd name="T51" fmla="*/ 1098 h 1163"/>
              <a:gd name="T52" fmla="*/ 817 w 1203"/>
              <a:gd name="T53" fmla="*/ 1079 h 1163"/>
              <a:gd name="T54" fmla="*/ 830 w 1203"/>
              <a:gd name="T55" fmla="*/ 1038 h 1163"/>
              <a:gd name="T56" fmla="*/ 831 w 1203"/>
              <a:gd name="T57" fmla="*/ 989 h 1163"/>
              <a:gd name="T58" fmla="*/ 795 w 1203"/>
              <a:gd name="T59" fmla="*/ 934 h 1163"/>
              <a:gd name="T60" fmla="*/ 730 w 1203"/>
              <a:gd name="T61" fmla="*/ 912 h 1163"/>
              <a:gd name="T62" fmla="*/ 666 w 1203"/>
              <a:gd name="T63" fmla="*/ 934 h 1163"/>
              <a:gd name="T64" fmla="*/ 630 w 1203"/>
              <a:gd name="T65" fmla="*/ 989 h 1163"/>
              <a:gd name="T66" fmla="*/ 631 w 1203"/>
              <a:gd name="T67" fmla="*/ 1038 h 1163"/>
              <a:gd name="T68" fmla="*/ 645 w 1203"/>
              <a:gd name="T69" fmla="*/ 1079 h 1163"/>
              <a:gd name="T70" fmla="*/ 653 w 1203"/>
              <a:gd name="T71" fmla="*/ 1098 h 1163"/>
              <a:gd name="T72" fmla="*/ 653 w 1203"/>
              <a:gd name="T73" fmla="*/ 1143 h 1163"/>
              <a:gd name="T74" fmla="*/ 610 w 1203"/>
              <a:gd name="T75" fmla="*/ 1161 h 1163"/>
              <a:gd name="T76" fmla="*/ 315 w 1203"/>
              <a:gd name="T77" fmla="*/ 1163 h 1163"/>
              <a:gd name="T78" fmla="*/ 256 w 1203"/>
              <a:gd name="T79" fmla="*/ 805 h 1163"/>
              <a:gd name="T80" fmla="*/ 226 w 1203"/>
              <a:gd name="T81" fmla="*/ 777 h 1163"/>
              <a:gd name="T82" fmla="*/ 193 w 1203"/>
              <a:gd name="T83" fmla="*/ 781 h 1163"/>
              <a:gd name="T84" fmla="*/ 170 w 1203"/>
              <a:gd name="T85" fmla="*/ 790 h 1163"/>
              <a:gd name="T86" fmla="*/ 129 w 1203"/>
              <a:gd name="T87" fmla="*/ 802 h 1163"/>
              <a:gd name="T88" fmla="*/ 85 w 1203"/>
              <a:gd name="T89" fmla="*/ 804 h 1163"/>
              <a:gd name="T90" fmla="*/ 46 w 1203"/>
              <a:gd name="T91" fmla="*/ 789 h 1163"/>
              <a:gd name="T92" fmla="*/ 8 w 1203"/>
              <a:gd name="T93" fmla="*/ 745 h 1163"/>
              <a:gd name="T94" fmla="*/ 2 w 1203"/>
              <a:gd name="T95" fmla="*/ 686 h 1163"/>
              <a:gd name="T96" fmla="*/ 31 w 1203"/>
              <a:gd name="T97" fmla="*/ 635 h 1163"/>
              <a:gd name="T98" fmla="*/ 66 w 1203"/>
              <a:gd name="T99" fmla="*/ 613 h 1163"/>
              <a:gd name="T100" fmla="*/ 116 w 1203"/>
              <a:gd name="T101" fmla="*/ 607 h 1163"/>
              <a:gd name="T102" fmla="*/ 157 w 1203"/>
              <a:gd name="T103" fmla="*/ 618 h 1163"/>
              <a:gd name="T104" fmla="*/ 189 w 1203"/>
              <a:gd name="T105" fmla="*/ 629 h 1163"/>
              <a:gd name="T106" fmla="*/ 210 w 1203"/>
              <a:gd name="T107" fmla="*/ 636 h 1163"/>
              <a:gd name="T108" fmla="*/ 250 w 1203"/>
              <a:gd name="T109" fmla="*/ 621 h 1163"/>
              <a:gd name="T110" fmla="*/ 258 w 1203"/>
              <a:gd name="T111" fmla="*/ 249 h 1163"/>
              <a:gd name="T112" fmla="*/ 643 w 1203"/>
              <a:gd name="T113" fmla="*/ 240 h 1163"/>
              <a:gd name="T114" fmla="*/ 658 w 1203"/>
              <a:gd name="T115" fmla="*/ 203 h 1163"/>
              <a:gd name="T116" fmla="*/ 649 w 1203"/>
              <a:gd name="T117" fmla="*/ 176 h 1163"/>
              <a:gd name="T118" fmla="*/ 636 w 1203"/>
              <a:gd name="T119" fmla="*/ 139 h 1163"/>
              <a:gd name="T120" fmla="*/ 627 w 1203"/>
              <a:gd name="T121" fmla="*/ 100 h 1163"/>
              <a:gd name="T122" fmla="*/ 650 w 1203"/>
              <a:gd name="T123" fmla="*/ 37 h 1163"/>
              <a:gd name="T124" fmla="*/ 707 w 1203"/>
              <a:gd name="T125"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3" h="1163">
                <a:moveTo>
                  <a:pt x="730" y="0"/>
                </a:moveTo>
                <a:lnTo>
                  <a:pt x="755" y="2"/>
                </a:lnTo>
                <a:lnTo>
                  <a:pt x="776" y="10"/>
                </a:lnTo>
                <a:lnTo>
                  <a:pt x="795" y="21"/>
                </a:lnTo>
                <a:lnTo>
                  <a:pt x="812" y="37"/>
                </a:lnTo>
                <a:lnTo>
                  <a:pt x="824" y="56"/>
                </a:lnTo>
                <a:lnTo>
                  <a:pt x="831" y="76"/>
                </a:lnTo>
                <a:lnTo>
                  <a:pt x="834" y="100"/>
                </a:lnTo>
                <a:lnTo>
                  <a:pt x="833" y="112"/>
                </a:lnTo>
                <a:lnTo>
                  <a:pt x="830" y="125"/>
                </a:lnTo>
                <a:lnTo>
                  <a:pt x="826" y="139"/>
                </a:lnTo>
                <a:lnTo>
                  <a:pt x="821" y="154"/>
                </a:lnTo>
                <a:lnTo>
                  <a:pt x="817" y="166"/>
                </a:lnTo>
                <a:lnTo>
                  <a:pt x="813" y="176"/>
                </a:lnTo>
                <a:lnTo>
                  <a:pt x="810" y="183"/>
                </a:lnTo>
                <a:lnTo>
                  <a:pt x="809" y="185"/>
                </a:lnTo>
                <a:lnTo>
                  <a:pt x="804" y="203"/>
                </a:lnTo>
                <a:lnTo>
                  <a:pt x="804" y="218"/>
                </a:lnTo>
                <a:lnTo>
                  <a:pt x="809" y="230"/>
                </a:lnTo>
                <a:lnTo>
                  <a:pt x="819" y="240"/>
                </a:lnTo>
                <a:lnTo>
                  <a:pt x="833" y="246"/>
                </a:lnTo>
                <a:lnTo>
                  <a:pt x="851" y="249"/>
                </a:lnTo>
                <a:lnTo>
                  <a:pt x="1203" y="249"/>
                </a:lnTo>
                <a:lnTo>
                  <a:pt x="1203" y="589"/>
                </a:lnTo>
                <a:lnTo>
                  <a:pt x="1201" y="607"/>
                </a:lnTo>
                <a:lnTo>
                  <a:pt x="1195" y="621"/>
                </a:lnTo>
                <a:lnTo>
                  <a:pt x="1184" y="630"/>
                </a:lnTo>
                <a:lnTo>
                  <a:pt x="1171" y="635"/>
                </a:lnTo>
                <a:lnTo>
                  <a:pt x="1155" y="636"/>
                </a:lnTo>
                <a:lnTo>
                  <a:pt x="1137" y="631"/>
                </a:lnTo>
                <a:lnTo>
                  <a:pt x="1135" y="630"/>
                </a:lnTo>
                <a:lnTo>
                  <a:pt x="1128" y="627"/>
                </a:lnTo>
                <a:lnTo>
                  <a:pt x="1117" y="623"/>
                </a:lnTo>
                <a:lnTo>
                  <a:pt x="1104" y="619"/>
                </a:lnTo>
                <a:lnTo>
                  <a:pt x="1090" y="614"/>
                </a:lnTo>
                <a:lnTo>
                  <a:pt x="1075" y="610"/>
                </a:lnTo>
                <a:lnTo>
                  <a:pt x="1061" y="607"/>
                </a:lnTo>
                <a:lnTo>
                  <a:pt x="1049" y="606"/>
                </a:lnTo>
                <a:lnTo>
                  <a:pt x="1025" y="609"/>
                </a:lnTo>
                <a:lnTo>
                  <a:pt x="1003" y="616"/>
                </a:lnTo>
                <a:lnTo>
                  <a:pt x="984" y="628"/>
                </a:lnTo>
                <a:lnTo>
                  <a:pt x="968" y="643"/>
                </a:lnTo>
                <a:lnTo>
                  <a:pt x="956" y="662"/>
                </a:lnTo>
                <a:lnTo>
                  <a:pt x="948" y="683"/>
                </a:lnTo>
                <a:lnTo>
                  <a:pt x="945" y="706"/>
                </a:lnTo>
                <a:lnTo>
                  <a:pt x="948" y="729"/>
                </a:lnTo>
                <a:lnTo>
                  <a:pt x="956" y="750"/>
                </a:lnTo>
                <a:lnTo>
                  <a:pt x="968" y="768"/>
                </a:lnTo>
                <a:lnTo>
                  <a:pt x="984" y="784"/>
                </a:lnTo>
                <a:lnTo>
                  <a:pt x="1003" y="796"/>
                </a:lnTo>
                <a:lnTo>
                  <a:pt x="1025" y="803"/>
                </a:lnTo>
                <a:lnTo>
                  <a:pt x="1049" y="806"/>
                </a:lnTo>
                <a:lnTo>
                  <a:pt x="1061" y="805"/>
                </a:lnTo>
                <a:lnTo>
                  <a:pt x="1074" y="804"/>
                </a:lnTo>
                <a:lnTo>
                  <a:pt x="1088" y="801"/>
                </a:lnTo>
                <a:lnTo>
                  <a:pt x="1102" y="799"/>
                </a:lnTo>
                <a:lnTo>
                  <a:pt x="1113" y="796"/>
                </a:lnTo>
                <a:lnTo>
                  <a:pt x="1123" y="794"/>
                </a:lnTo>
                <a:lnTo>
                  <a:pt x="1129" y="792"/>
                </a:lnTo>
                <a:lnTo>
                  <a:pt x="1131" y="791"/>
                </a:lnTo>
                <a:lnTo>
                  <a:pt x="1147" y="786"/>
                </a:lnTo>
                <a:lnTo>
                  <a:pt x="1162" y="784"/>
                </a:lnTo>
                <a:lnTo>
                  <a:pt x="1175" y="785"/>
                </a:lnTo>
                <a:lnTo>
                  <a:pt x="1186" y="789"/>
                </a:lnTo>
                <a:lnTo>
                  <a:pt x="1196" y="797"/>
                </a:lnTo>
                <a:lnTo>
                  <a:pt x="1201" y="808"/>
                </a:lnTo>
                <a:lnTo>
                  <a:pt x="1203" y="822"/>
                </a:lnTo>
                <a:lnTo>
                  <a:pt x="1203" y="1163"/>
                </a:lnTo>
                <a:lnTo>
                  <a:pt x="1147" y="1163"/>
                </a:lnTo>
                <a:lnTo>
                  <a:pt x="1140" y="1162"/>
                </a:lnTo>
                <a:lnTo>
                  <a:pt x="1131" y="1161"/>
                </a:lnTo>
                <a:lnTo>
                  <a:pt x="851" y="1161"/>
                </a:lnTo>
                <a:lnTo>
                  <a:pt x="833" y="1159"/>
                </a:lnTo>
                <a:lnTo>
                  <a:pt x="819" y="1153"/>
                </a:lnTo>
                <a:lnTo>
                  <a:pt x="809" y="1143"/>
                </a:lnTo>
                <a:lnTo>
                  <a:pt x="804" y="1130"/>
                </a:lnTo>
                <a:lnTo>
                  <a:pt x="804" y="1114"/>
                </a:lnTo>
                <a:lnTo>
                  <a:pt x="809" y="1098"/>
                </a:lnTo>
                <a:lnTo>
                  <a:pt x="810" y="1095"/>
                </a:lnTo>
                <a:lnTo>
                  <a:pt x="813" y="1089"/>
                </a:lnTo>
                <a:lnTo>
                  <a:pt x="817" y="1079"/>
                </a:lnTo>
                <a:lnTo>
                  <a:pt x="821" y="1066"/>
                </a:lnTo>
                <a:lnTo>
                  <a:pt x="826" y="1052"/>
                </a:lnTo>
                <a:lnTo>
                  <a:pt x="830" y="1038"/>
                </a:lnTo>
                <a:lnTo>
                  <a:pt x="833" y="1024"/>
                </a:lnTo>
                <a:lnTo>
                  <a:pt x="834" y="1013"/>
                </a:lnTo>
                <a:lnTo>
                  <a:pt x="831" y="989"/>
                </a:lnTo>
                <a:lnTo>
                  <a:pt x="824" y="968"/>
                </a:lnTo>
                <a:lnTo>
                  <a:pt x="812" y="950"/>
                </a:lnTo>
                <a:lnTo>
                  <a:pt x="795" y="934"/>
                </a:lnTo>
                <a:lnTo>
                  <a:pt x="776" y="922"/>
                </a:lnTo>
                <a:lnTo>
                  <a:pt x="755" y="915"/>
                </a:lnTo>
                <a:lnTo>
                  <a:pt x="730" y="912"/>
                </a:lnTo>
                <a:lnTo>
                  <a:pt x="707" y="915"/>
                </a:lnTo>
                <a:lnTo>
                  <a:pt x="685" y="922"/>
                </a:lnTo>
                <a:lnTo>
                  <a:pt x="666" y="934"/>
                </a:lnTo>
                <a:lnTo>
                  <a:pt x="650" y="950"/>
                </a:lnTo>
                <a:lnTo>
                  <a:pt x="638" y="968"/>
                </a:lnTo>
                <a:lnTo>
                  <a:pt x="630" y="989"/>
                </a:lnTo>
                <a:lnTo>
                  <a:pt x="627" y="1013"/>
                </a:lnTo>
                <a:lnTo>
                  <a:pt x="628" y="1024"/>
                </a:lnTo>
                <a:lnTo>
                  <a:pt x="631" y="1038"/>
                </a:lnTo>
                <a:lnTo>
                  <a:pt x="636" y="1052"/>
                </a:lnTo>
                <a:lnTo>
                  <a:pt x="641" y="1066"/>
                </a:lnTo>
                <a:lnTo>
                  <a:pt x="645" y="1079"/>
                </a:lnTo>
                <a:lnTo>
                  <a:pt x="649" y="1089"/>
                </a:lnTo>
                <a:lnTo>
                  <a:pt x="652" y="1095"/>
                </a:lnTo>
                <a:lnTo>
                  <a:pt x="653" y="1098"/>
                </a:lnTo>
                <a:lnTo>
                  <a:pt x="658" y="1114"/>
                </a:lnTo>
                <a:lnTo>
                  <a:pt x="658" y="1130"/>
                </a:lnTo>
                <a:lnTo>
                  <a:pt x="653" y="1143"/>
                </a:lnTo>
                <a:lnTo>
                  <a:pt x="643" y="1153"/>
                </a:lnTo>
                <a:lnTo>
                  <a:pt x="628" y="1159"/>
                </a:lnTo>
                <a:lnTo>
                  <a:pt x="610" y="1161"/>
                </a:lnTo>
                <a:lnTo>
                  <a:pt x="330" y="1161"/>
                </a:lnTo>
                <a:lnTo>
                  <a:pt x="322" y="1162"/>
                </a:lnTo>
                <a:lnTo>
                  <a:pt x="315" y="1163"/>
                </a:lnTo>
                <a:lnTo>
                  <a:pt x="258" y="1163"/>
                </a:lnTo>
                <a:lnTo>
                  <a:pt x="258" y="822"/>
                </a:lnTo>
                <a:lnTo>
                  <a:pt x="256" y="805"/>
                </a:lnTo>
                <a:lnTo>
                  <a:pt x="250" y="792"/>
                </a:lnTo>
                <a:lnTo>
                  <a:pt x="239" y="782"/>
                </a:lnTo>
                <a:lnTo>
                  <a:pt x="226" y="777"/>
                </a:lnTo>
                <a:lnTo>
                  <a:pt x="210" y="776"/>
                </a:lnTo>
                <a:lnTo>
                  <a:pt x="193" y="781"/>
                </a:lnTo>
                <a:lnTo>
                  <a:pt x="193" y="781"/>
                </a:lnTo>
                <a:lnTo>
                  <a:pt x="189" y="783"/>
                </a:lnTo>
                <a:lnTo>
                  <a:pt x="180" y="786"/>
                </a:lnTo>
                <a:lnTo>
                  <a:pt x="170" y="790"/>
                </a:lnTo>
                <a:lnTo>
                  <a:pt x="157" y="794"/>
                </a:lnTo>
                <a:lnTo>
                  <a:pt x="143" y="799"/>
                </a:lnTo>
                <a:lnTo>
                  <a:pt x="129" y="802"/>
                </a:lnTo>
                <a:lnTo>
                  <a:pt x="116" y="805"/>
                </a:lnTo>
                <a:lnTo>
                  <a:pt x="104" y="806"/>
                </a:lnTo>
                <a:lnTo>
                  <a:pt x="85" y="804"/>
                </a:lnTo>
                <a:lnTo>
                  <a:pt x="66" y="799"/>
                </a:lnTo>
                <a:lnTo>
                  <a:pt x="50" y="792"/>
                </a:lnTo>
                <a:lnTo>
                  <a:pt x="46" y="789"/>
                </a:lnTo>
                <a:lnTo>
                  <a:pt x="31" y="777"/>
                </a:lnTo>
                <a:lnTo>
                  <a:pt x="19" y="762"/>
                </a:lnTo>
                <a:lnTo>
                  <a:pt x="8" y="745"/>
                </a:lnTo>
                <a:lnTo>
                  <a:pt x="2" y="726"/>
                </a:lnTo>
                <a:lnTo>
                  <a:pt x="0" y="706"/>
                </a:lnTo>
                <a:lnTo>
                  <a:pt x="2" y="686"/>
                </a:lnTo>
                <a:lnTo>
                  <a:pt x="8" y="667"/>
                </a:lnTo>
                <a:lnTo>
                  <a:pt x="19" y="650"/>
                </a:lnTo>
                <a:lnTo>
                  <a:pt x="31" y="635"/>
                </a:lnTo>
                <a:lnTo>
                  <a:pt x="46" y="623"/>
                </a:lnTo>
                <a:lnTo>
                  <a:pt x="50" y="621"/>
                </a:lnTo>
                <a:lnTo>
                  <a:pt x="66" y="613"/>
                </a:lnTo>
                <a:lnTo>
                  <a:pt x="85" y="608"/>
                </a:lnTo>
                <a:lnTo>
                  <a:pt x="104" y="606"/>
                </a:lnTo>
                <a:lnTo>
                  <a:pt x="116" y="607"/>
                </a:lnTo>
                <a:lnTo>
                  <a:pt x="129" y="610"/>
                </a:lnTo>
                <a:lnTo>
                  <a:pt x="143" y="614"/>
                </a:lnTo>
                <a:lnTo>
                  <a:pt x="157" y="618"/>
                </a:lnTo>
                <a:lnTo>
                  <a:pt x="170" y="622"/>
                </a:lnTo>
                <a:lnTo>
                  <a:pt x="180" y="626"/>
                </a:lnTo>
                <a:lnTo>
                  <a:pt x="189" y="629"/>
                </a:lnTo>
                <a:lnTo>
                  <a:pt x="193" y="631"/>
                </a:lnTo>
                <a:lnTo>
                  <a:pt x="193" y="631"/>
                </a:lnTo>
                <a:lnTo>
                  <a:pt x="210" y="636"/>
                </a:lnTo>
                <a:lnTo>
                  <a:pt x="226" y="635"/>
                </a:lnTo>
                <a:lnTo>
                  <a:pt x="239" y="630"/>
                </a:lnTo>
                <a:lnTo>
                  <a:pt x="250" y="621"/>
                </a:lnTo>
                <a:lnTo>
                  <a:pt x="256" y="607"/>
                </a:lnTo>
                <a:lnTo>
                  <a:pt x="258" y="589"/>
                </a:lnTo>
                <a:lnTo>
                  <a:pt x="258" y="249"/>
                </a:lnTo>
                <a:lnTo>
                  <a:pt x="610" y="249"/>
                </a:lnTo>
                <a:lnTo>
                  <a:pt x="628" y="246"/>
                </a:lnTo>
                <a:lnTo>
                  <a:pt x="643" y="240"/>
                </a:lnTo>
                <a:lnTo>
                  <a:pt x="653" y="230"/>
                </a:lnTo>
                <a:lnTo>
                  <a:pt x="658" y="218"/>
                </a:lnTo>
                <a:lnTo>
                  <a:pt x="658" y="203"/>
                </a:lnTo>
                <a:lnTo>
                  <a:pt x="653" y="185"/>
                </a:lnTo>
                <a:lnTo>
                  <a:pt x="652" y="183"/>
                </a:lnTo>
                <a:lnTo>
                  <a:pt x="649" y="176"/>
                </a:lnTo>
                <a:lnTo>
                  <a:pt x="645" y="166"/>
                </a:lnTo>
                <a:lnTo>
                  <a:pt x="641" y="154"/>
                </a:lnTo>
                <a:lnTo>
                  <a:pt x="636" y="139"/>
                </a:lnTo>
                <a:lnTo>
                  <a:pt x="631" y="125"/>
                </a:lnTo>
                <a:lnTo>
                  <a:pt x="628" y="112"/>
                </a:lnTo>
                <a:lnTo>
                  <a:pt x="627" y="100"/>
                </a:lnTo>
                <a:lnTo>
                  <a:pt x="630" y="76"/>
                </a:lnTo>
                <a:lnTo>
                  <a:pt x="638" y="56"/>
                </a:lnTo>
                <a:lnTo>
                  <a:pt x="650" y="37"/>
                </a:lnTo>
                <a:lnTo>
                  <a:pt x="666" y="21"/>
                </a:lnTo>
                <a:lnTo>
                  <a:pt x="685" y="10"/>
                </a:lnTo>
                <a:lnTo>
                  <a:pt x="707" y="2"/>
                </a:lnTo>
                <a:lnTo>
                  <a:pt x="730" y="0"/>
                </a:lnTo>
                <a:close/>
              </a:path>
            </a:pathLst>
          </a:cu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48" name="TextBox 47">
            <a:extLst>
              <a:ext uri="{FF2B5EF4-FFF2-40B4-BE49-F238E27FC236}">
                <a16:creationId xmlns:a16="http://schemas.microsoft.com/office/drawing/2014/main" id="{E24C91ED-1501-4862-9793-7652AC742689}"/>
              </a:ext>
            </a:extLst>
          </p:cNvPr>
          <p:cNvSpPr txBox="1"/>
          <p:nvPr/>
        </p:nvSpPr>
        <p:spPr>
          <a:xfrm>
            <a:off x="1994798" y="2547628"/>
            <a:ext cx="823575" cy="646331"/>
          </a:xfrm>
          <a:prstGeom prst="rect">
            <a:avLst/>
          </a:prstGeom>
          <a:noFill/>
        </p:spPr>
        <p:txBody>
          <a:bodyPr wrap="square" rtlCol="0">
            <a:spAutoFit/>
          </a:bodyPr>
          <a:lstStyle/>
          <a:p>
            <a:pPr algn="ctr" defTabSz="914240"/>
            <a:r>
              <a:rPr lang="en-US" sz="900" b="1" dirty="0">
                <a:cs typeface="Arial" panose="020B0604020202020204" pitchFamily="34" charset="0"/>
              </a:rPr>
              <a:t>Cash &amp; Liquidity Forecast Online Tool</a:t>
            </a:r>
          </a:p>
        </p:txBody>
      </p:sp>
      <p:sp>
        <p:nvSpPr>
          <p:cNvPr id="50" name="Freeform 11">
            <a:extLst>
              <a:ext uri="{FF2B5EF4-FFF2-40B4-BE49-F238E27FC236}">
                <a16:creationId xmlns:a16="http://schemas.microsoft.com/office/drawing/2014/main" id="{9C78018C-B5EB-4844-9F70-C2B1FA2A07C8}"/>
              </a:ext>
            </a:extLst>
          </p:cNvPr>
          <p:cNvSpPr>
            <a:spLocks/>
          </p:cNvSpPr>
          <p:nvPr/>
        </p:nvSpPr>
        <p:spPr bwMode="auto">
          <a:xfrm>
            <a:off x="2722340" y="1076271"/>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1" name="TextBox 50">
            <a:extLst>
              <a:ext uri="{FF2B5EF4-FFF2-40B4-BE49-F238E27FC236}">
                <a16:creationId xmlns:a16="http://schemas.microsoft.com/office/drawing/2014/main" id="{C92BAA35-9618-4B62-8020-9D9F9F994992}"/>
              </a:ext>
            </a:extLst>
          </p:cNvPr>
          <p:cNvSpPr txBox="1"/>
          <p:nvPr/>
        </p:nvSpPr>
        <p:spPr>
          <a:xfrm>
            <a:off x="2739467" y="1297324"/>
            <a:ext cx="790394" cy="507831"/>
          </a:xfrm>
          <a:prstGeom prst="rect">
            <a:avLst/>
          </a:prstGeom>
          <a:noFill/>
        </p:spPr>
        <p:txBody>
          <a:bodyPr wrap="square" rtlCol="0">
            <a:spAutoFit/>
          </a:bodyPr>
          <a:lstStyle/>
          <a:p>
            <a:pPr algn="ctr" defTabSz="914240"/>
            <a:r>
              <a:rPr lang="en-US" sz="900" b="1" dirty="0">
                <a:cs typeface="Arial" panose="020B0604020202020204" pitchFamily="34" charset="0"/>
              </a:rPr>
              <a:t>Bank Communication</a:t>
            </a:r>
          </a:p>
        </p:txBody>
      </p:sp>
      <p:sp>
        <p:nvSpPr>
          <p:cNvPr id="53" name="Freeform 11">
            <a:extLst>
              <a:ext uri="{FF2B5EF4-FFF2-40B4-BE49-F238E27FC236}">
                <a16:creationId xmlns:a16="http://schemas.microsoft.com/office/drawing/2014/main" id="{67A2B660-20E2-4C07-AF69-7F45AFEA0247}"/>
              </a:ext>
            </a:extLst>
          </p:cNvPr>
          <p:cNvSpPr>
            <a:spLocks/>
          </p:cNvSpPr>
          <p:nvPr/>
        </p:nvSpPr>
        <p:spPr bwMode="auto">
          <a:xfrm>
            <a:off x="5941462" y="1040843"/>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4" name="TextBox 53">
            <a:extLst>
              <a:ext uri="{FF2B5EF4-FFF2-40B4-BE49-F238E27FC236}">
                <a16:creationId xmlns:a16="http://schemas.microsoft.com/office/drawing/2014/main" id="{21E4D1C6-F1F0-48F0-9570-0B744B77B67D}"/>
              </a:ext>
            </a:extLst>
          </p:cNvPr>
          <p:cNvSpPr txBox="1"/>
          <p:nvPr/>
        </p:nvSpPr>
        <p:spPr>
          <a:xfrm>
            <a:off x="5917538" y="1295607"/>
            <a:ext cx="862312" cy="507831"/>
          </a:xfrm>
          <a:prstGeom prst="rect">
            <a:avLst/>
          </a:prstGeom>
          <a:noFill/>
        </p:spPr>
        <p:txBody>
          <a:bodyPr wrap="square" rtlCol="0">
            <a:spAutoFit/>
          </a:bodyPr>
          <a:lstStyle/>
          <a:p>
            <a:pPr algn="ctr" defTabSz="914240"/>
            <a:r>
              <a:rPr lang="en-US" sz="900" b="1" dirty="0">
                <a:cs typeface="Arial" panose="020B0604020202020204" pitchFamily="34" charset="0"/>
              </a:rPr>
              <a:t>Treasury &amp; Risk</a:t>
            </a:r>
          </a:p>
          <a:p>
            <a:pPr algn="ctr" defTabSz="914240"/>
            <a:r>
              <a:rPr lang="en-US" sz="900" b="1" dirty="0" err="1">
                <a:cs typeface="Arial" panose="020B0604020202020204" pitchFamily="34" charset="0"/>
              </a:rPr>
              <a:t>Mgmt</a:t>
            </a:r>
            <a:endParaRPr lang="en-US" sz="900" b="1" dirty="0">
              <a:cs typeface="Arial" panose="020B0604020202020204" pitchFamily="34" charset="0"/>
            </a:endParaRPr>
          </a:p>
        </p:txBody>
      </p:sp>
      <p:sp>
        <p:nvSpPr>
          <p:cNvPr id="63" name="Rectangle 62">
            <a:extLst>
              <a:ext uri="{FF2B5EF4-FFF2-40B4-BE49-F238E27FC236}">
                <a16:creationId xmlns:a16="http://schemas.microsoft.com/office/drawing/2014/main" id="{00477E30-04C7-4C8D-91D4-308521A13507}"/>
              </a:ext>
            </a:extLst>
          </p:cNvPr>
          <p:cNvSpPr/>
          <p:nvPr/>
        </p:nvSpPr>
        <p:spPr>
          <a:xfrm>
            <a:off x="291173" y="3654251"/>
            <a:ext cx="1965221" cy="430887"/>
          </a:xfrm>
          <a:prstGeom prst="rect">
            <a:avLst/>
          </a:prstGeom>
          <a:ln>
            <a:solidFill>
              <a:schemeClr val="tx1"/>
            </a:solidFill>
          </a:ln>
        </p:spPr>
        <p:txBody>
          <a:bodyPr wrap="square">
            <a:spAutoFit/>
          </a:bodyPr>
          <a:lstStyle/>
          <a:p>
            <a:pPr marL="214318" indent="-214318" defTabSz="914401">
              <a:buFontTx/>
              <a:buChar char="-"/>
              <a:defRPr/>
            </a:pPr>
            <a:r>
              <a:rPr lang="en-US" sz="1100" b="1" dirty="0">
                <a:solidFill>
                  <a:schemeClr val="accent1">
                    <a:lumMod val="75000"/>
                  </a:schemeClr>
                </a:solidFill>
              </a:rPr>
              <a:t>60% recognition rate</a:t>
            </a:r>
          </a:p>
          <a:p>
            <a:pPr marL="214318" indent="-214318" defTabSz="914401">
              <a:buFontTx/>
              <a:buChar char="-"/>
              <a:defRPr/>
            </a:pPr>
            <a:r>
              <a:rPr lang="en-US" sz="1100" b="1" dirty="0">
                <a:solidFill>
                  <a:schemeClr val="accent1">
                    <a:lumMod val="75000"/>
                  </a:schemeClr>
                </a:solidFill>
              </a:rPr>
              <a:t>3 FTE fully occupied</a:t>
            </a:r>
          </a:p>
        </p:txBody>
      </p:sp>
      <p:sp>
        <p:nvSpPr>
          <p:cNvPr id="64" name="Rectangle 63">
            <a:extLst>
              <a:ext uri="{FF2B5EF4-FFF2-40B4-BE49-F238E27FC236}">
                <a16:creationId xmlns:a16="http://schemas.microsoft.com/office/drawing/2014/main" id="{8C7DA587-2BB8-494C-900A-7FFFA2023B75}"/>
              </a:ext>
            </a:extLst>
          </p:cNvPr>
          <p:cNvSpPr/>
          <p:nvPr/>
        </p:nvSpPr>
        <p:spPr>
          <a:xfrm>
            <a:off x="8934" y="1099569"/>
            <a:ext cx="2667363" cy="600164"/>
          </a:xfrm>
          <a:prstGeom prst="rect">
            <a:avLst/>
          </a:prstGeom>
          <a:ln>
            <a:solidFill>
              <a:schemeClr val="tx1"/>
            </a:solidFill>
          </a:ln>
        </p:spPr>
        <p:txBody>
          <a:bodyPr wrap="square">
            <a:spAutoFit/>
          </a:bodyPr>
          <a:lstStyle/>
          <a:p>
            <a:pPr marL="214318" indent="-214318" defTabSz="914401">
              <a:buFontTx/>
              <a:buChar char="-"/>
              <a:defRPr/>
            </a:pPr>
            <a:r>
              <a:rPr lang="en-US" sz="1100" b="1" dirty="0">
                <a:solidFill>
                  <a:schemeClr val="accent1">
                    <a:lumMod val="75000"/>
                  </a:schemeClr>
                </a:solidFill>
              </a:rPr>
              <a:t>Payroll – Fraud Sensitive</a:t>
            </a:r>
          </a:p>
          <a:p>
            <a:pPr marL="214318" indent="-214318" defTabSz="914401">
              <a:buFontTx/>
              <a:buChar char="-"/>
              <a:defRPr/>
            </a:pPr>
            <a:r>
              <a:rPr lang="en-US" sz="1100" b="1" dirty="0">
                <a:solidFill>
                  <a:schemeClr val="accent1">
                    <a:lumMod val="75000"/>
                  </a:schemeClr>
                </a:solidFill>
              </a:rPr>
              <a:t>9 Interfaces</a:t>
            </a:r>
          </a:p>
          <a:p>
            <a:pPr marL="214318" indent="-214318" defTabSz="914401">
              <a:buFontTx/>
              <a:buChar char="-"/>
              <a:defRPr/>
            </a:pPr>
            <a:r>
              <a:rPr lang="en-US" sz="1100" b="1" dirty="0">
                <a:solidFill>
                  <a:schemeClr val="accent1">
                    <a:lumMod val="75000"/>
                  </a:schemeClr>
                </a:solidFill>
              </a:rPr>
              <a:t>Complex Approval Process</a:t>
            </a:r>
          </a:p>
        </p:txBody>
      </p:sp>
      <p:sp>
        <p:nvSpPr>
          <p:cNvPr id="65" name="Rectangle 64">
            <a:extLst>
              <a:ext uri="{FF2B5EF4-FFF2-40B4-BE49-F238E27FC236}">
                <a16:creationId xmlns:a16="http://schemas.microsoft.com/office/drawing/2014/main" id="{B91A10F4-4DFB-4310-8BCF-30810F130E92}"/>
              </a:ext>
            </a:extLst>
          </p:cNvPr>
          <p:cNvSpPr/>
          <p:nvPr/>
        </p:nvSpPr>
        <p:spPr>
          <a:xfrm>
            <a:off x="144162" y="2495993"/>
            <a:ext cx="1657730" cy="430887"/>
          </a:xfrm>
          <a:prstGeom prst="rect">
            <a:avLst/>
          </a:prstGeom>
          <a:ln>
            <a:solidFill>
              <a:schemeClr val="tx1"/>
            </a:solidFill>
          </a:ln>
        </p:spPr>
        <p:txBody>
          <a:bodyPr wrap="square">
            <a:spAutoFit/>
          </a:bodyPr>
          <a:lstStyle/>
          <a:p>
            <a:pPr marL="214318" indent="-214318" defTabSz="914401">
              <a:buFontTx/>
              <a:buChar char="-"/>
              <a:defRPr/>
            </a:pPr>
            <a:r>
              <a:rPr lang="en-US" sz="1100" b="1" dirty="0">
                <a:solidFill>
                  <a:schemeClr val="accent1">
                    <a:lumMod val="75000"/>
                  </a:schemeClr>
                </a:solidFill>
              </a:rPr>
              <a:t>50% Accuracy</a:t>
            </a:r>
          </a:p>
          <a:p>
            <a:pPr marL="214318" indent="-214318" defTabSz="914401">
              <a:buFontTx/>
              <a:buChar char="-"/>
              <a:defRPr/>
            </a:pPr>
            <a:r>
              <a:rPr lang="en-US" sz="1100" b="1" dirty="0">
                <a:solidFill>
                  <a:schemeClr val="accent1">
                    <a:lumMod val="75000"/>
                  </a:schemeClr>
                </a:solidFill>
              </a:rPr>
              <a:t>100% Manual</a:t>
            </a:r>
          </a:p>
        </p:txBody>
      </p:sp>
      <p:sp>
        <p:nvSpPr>
          <p:cNvPr id="66" name="Rectangle 65">
            <a:extLst>
              <a:ext uri="{FF2B5EF4-FFF2-40B4-BE49-F238E27FC236}">
                <a16:creationId xmlns:a16="http://schemas.microsoft.com/office/drawing/2014/main" id="{B641469A-48B4-4B7D-9B3B-5E737889A5CA}"/>
              </a:ext>
            </a:extLst>
          </p:cNvPr>
          <p:cNvSpPr/>
          <p:nvPr/>
        </p:nvSpPr>
        <p:spPr>
          <a:xfrm>
            <a:off x="7060540" y="1310572"/>
            <a:ext cx="2083460" cy="430887"/>
          </a:xfrm>
          <a:prstGeom prst="rect">
            <a:avLst/>
          </a:prstGeom>
          <a:ln>
            <a:solidFill>
              <a:schemeClr val="tx1"/>
            </a:solidFill>
          </a:ln>
        </p:spPr>
        <p:txBody>
          <a:bodyPr wrap="square">
            <a:spAutoFit/>
          </a:bodyPr>
          <a:lstStyle/>
          <a:p>
            <a:pPr marL="128591" indent="-128591" defTabSz="914401">
              <a:buFontTx/>
              <a:buChar char="-"/>
              <a:defRPr/>
            </a:pPr>
            <a:r>
              <a:rPr lang="en-US" sz="1100" b="1" dirty="0">
                <a:solidFill>
                  <a:schemeClr val="accent1">
                    <a:lumMod val="75000"/>
                  </a:schemeClr>
                </a:solidFill>
              </a:rPr>
              <a:t>Multiple Platforms</a:t>
            </a:r>
          </a:p>
          <a:p>
            <a:pPr marL="128591" indent="-128591" defTabSz="914401">
              <a:buFontTx/>
              <a:buChar char="-"/>
              <a:defRPr/>
            </a:pPr>
            <a:r>
              <a:rPr lang="en-US" sz="1100" b="1" dirty="0">
                <a:solidFill>
                  <a:schemeClr val="accent1">
                    <a:lumMod val="75000"/>
                  </a:schemeClr>
                </a:solidFill>
              </a:rPr>
              <a:t>90% manual</a:t>
            </a:r>
          </a:p>
        </p:txBody>
      </p:sp>
      <p:sp>
        <p:nvSpPr>
          <p:cNvPr id="36" name="Rectangle: Rounded Corners 35">
            <a:extLst>
              <a:ext uri="{FF2B5EF4-FFF2-40B4-BE49-F238E27FC236}">
                <a16:creationId xmlns:a16="http://schemas.microsoft.com/office/drawing/2014/main" id="{1F952C0C-FEFC-410D-B222-1843F1F5FB9B}"/>
              </a:ext>
            </a:extLst>
          </p:cNvPr>
          <p:cNvSpPr/>
          <p:nvPr/>
        </p:nvSpPr>
        <p:spPr>
          <a:xfrm>
            <a:off x="7309673" y="431986"/>
            <a:ext cx="1676400" cy="408869"/>
          </a:xfrm>
          <a:prstGeom prst="roundRect">
            <a:avLst/>
          </a:prstGeom>
          <a:solidFill>
            <a:schemeClr val="bg1">
              <a:lumMod val="95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bg1"/>
              </a:solidFill>
            </a:endParaRPr>
          </a:p>
        </p:txBody>
      </p:sp>
      <p:sp>
        <p:nvSpPr>
          <p:cNvPr id="37" name="TextBox 36">
            <a:extLst>
              <a:ext uri="{FF2B5EF4-FFF2-40B4-BE49-F238E27FC236}">
                <a16:creationId xmlns:a16="http://schemas.microsoft.com/office/drawing/2014/main" id="{D0B32376-9F6C-45AF-B2C6-D660145BA887}"/>
              </a:ext>
            </a:extLst>
          </p:cNvPr>
          <p:cNvSpPr txBox="1"/>
          <p:nvPr/>
        </p:nvSpPr>
        <p:spPr>
          <a:xfrm>
            <a:off x="7481842" y="584386"/>
            <a:ext cx="604777" cy="215444"/>
          </a:xfrm>
          <a:prstGeom prst="rect">
            <a:avLst/>
          </a:prstGeom>
          <a:noFill/>
        </p:spPr>
        <p:txBody>
          <a:bodyPr wrap="square" rtlCol="0">
            <a:spAutoFit/>
          </a:bodyPr>
          <a:lstStyle/>
          <a:p>
            <a:r>
              <a:rPr lang="en-US" sz="800" dirty="0"/>
              <a:t>Critical </a:t>
            </a:r>
          </a:p>
        </p:txBody>
      </p:sp>
      <p:sp>
        <p:nvSpPr>
          <p:cNvPr id="38" name="TextBox 37">
            <a:extLst>
              <a:ext uri="{FF2B5EF4-FFF2-40B4-BE49-F238E27FC236}">
                <a16:creationId xmlns:a16="http://schemas.microsoft.com/office/drawing/2014/main" id="{2309D20D-0320-4A91-AA1C-52CA0F6DA854}"/>
              </a:ext>
            </a:extLst>
          </p:cNvPr>
          <p:cNvSpPr txBox="1"/>
          <p:nvPr/>
        </p:nvSpPr>
        <p:spPr>
          <a:xfrm>
            <a:off x="8040141" y="584386"/>
            <a:ext cx="790865" cy="215444"/>
          </a:xfrm>
          <a:prstGeom prst="rect">
            <a:avLst/>
          </a:prstGeom>
          <a:noFill/>
        </p:spPr>
        <p:txBody>
          <a:bodyPr wrap="square" rtlCol="0">
            <a:spAutoFit/>
          </a:bodyPr>
          <a:lstStyle/>
          <a:p>
            <a:r>
              <a:rPr lang="en-US" sz="800" dirty="0"/>
              <a:t>High</a:t>
            </a:r>
          </a:p>
        </p:txBody>
      </p:sp>
      <p:sp>
        <p:nvSpPr>
          <p:cNvPr id="39" name="TextBox 38">
            <a:extLst>
              <a:ext uri="{FF2B5EF4-FFF2-40B4-BE49-F238E27FC236}">
                <a16:creationId xmlns:a16="http://schemas.microsoft.com/office/drawing/2014/main" id="{D6FA0510-401F-4F52-A6C4-7F0B4370A083}"/>
              </a:ext>
            </a:extLst>
          </p:cNvPr>
          <p:cNvSpPr txBox="1"/>
          <p:nvPr/>
        </p:nvSpPr>
        <p:spPr>
          <a:xfrm>
            <a:off x="8503627" y="584386"/>
            <a:ext cx="716573" cy="215444"/>
          </a:xfrm>
          <a:prstGeom prst="rect">
            <a:avLst/>
          </a:prstGeom>
          <a:noFill/>
        </p:spPr>
        <p:txBody>
          <a:bodyPr wrap="square" rtlCol="0">
            <a:spAutoFit/>
          </a:bodyPr>
          <a:lstStyle/>
          <a:p>
            <a:r>
              <a:rPr lang="en-US" sz="800" dirty="0"/>
              <a:t>Medium</a:t>
            </a:r>
          </a:p>
        </p:txBody>
      </p:sp>
      <p:sp>
        <p:nvSpPr>
          <p:cNvPr id="40" name="Rectangle: Rounded Corners 3">
            <a:extLst>
              <a:ext uri="{FF2B5EF4-FFF2-40B4-BE49-F238E27FC236}">
                <a16:creationId xmlns:a16="http://schemas.microsoft.com/office/drawing/2014/main" id="{038DF43B-9FA5-46BA-9710-EFBCEBAF410A}"/>
              </a:ext>
            </a:extLst>
          </p:cNvPr>
          <p:cNvSpPr/>
          <p:nvPr/>
        </p:nvSpPr>
        <p:spPr>
          <a:xfrm>
            <a:off x="7411383" y="361950"/>
            <a:ext cx="1489602" cy="116089"/>
          </a:xfrm>
          <a:prstGeom prst="round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Transformation Priority</a:t>
            </a:r>
          </a:p>
        </p:txBody>
      </p:sp>
      <p:sp>
        <p:nvSpPr>
          <p:cNvPr id="41" name="Flowchart: Connector 40">
            <a:extLst>
              <a:ext uri="{FF2B5EF4-FFF2-40B4-BE49-F238E27FC236}">
                <a16:creationId xmlns:a16="http://schemas.microsoft.com/office/drawing/2014/main" id="{1904BA5D-1B61-4F12-867E-8038E0A7BBA9}"/>
              </a:ext>
            </a:extLst>
          </p:cNvPr>
          <p:cNvSpPr/>
          <p:nvPr/>
        </p:nvSpPr>
        <p:spPr>
          <a:xfrm>
            <a:off x="7411383" y="584386"/>
            <a:ext cx="146099" cy="157811"/>
          </a:xfrm>
          <a:prstGeom prst="flowChartConnector">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C</a:t>
            </a:r>
          </a:p>
        </p:txBody>
      </p:sp>
      <p:sp>
        <p:nvSpPr>
          <p:cNvPr id="42" name="Flowchart: Connector 41">
            <a:extLst>
              <a:ext uri="{FF2B5EF4-FFF2-40B4-BE49-F238E27FC236}">
                <a16:creationId xmlns:a16="http://schemas.microsoft.com/office/drawing/2014/main" id="{37C5A773-A70A-4B3D-906F-A97E4E21EF5F}"/>
              </a:ext>
            </a:extLst>
          </p:cNvPr>
          <p:cNvSpPr/>
          <p:nvPr/>
        </p:nvSpPr>
        <p:spPr>
          <a:xfrm>
            <a:off x="8398982" y="584386"/>
            <a:ext cx="160709" cy="157811"/>
          </a:xfrm>
          <a:prstGeom prst="flowChartConnector">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M</a:t>
            </a:r>
          </a:p>
        </p:txBody>
      </p:sp>
      <p:sp>
        <p:nvSpPr>
          <p:cNvPr id="43" name="Flowchart: Connector 42">
            <a:extLst>
              <a:ext uri="{FF2B5EF4-FFF2-40B4-BE49-F238E27FC236}">
                <a16:creationId xmlns:a16="http://schemas.microsoft.com/office/drawing/2014/main" id="{013473B4-6024-4FC8-8574-4060A26502C0}"/>
              </a:ext>
            </a:extLst>
          </p:cNvPr>
          <p:cNvSpPr/>
          <p:nvPr/>
        </p:nvSpPr>
        <p:spPr>
          <a:xfrm>
            <a:off x="7950200" y="584386"/>
            <a:ext cx="160709" cy="157811"/>
          </a:xfrm>
          <a:prstGeom prst="flowChartConnector">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t>
            </a:r>
          </a:p>
        </p:txBody>
      </p:sp>
    </p:spTree>
    <p:extLst>
      <p:ext uri="{BB962C8B-B14F-4D97-AF65-F5344CB8AC3E}">
        <p14:creationId xmlns:p14="http://schemas.microsoft.com/office/powerpoint/2010/main" val="35138409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C7C7A-99E0-4EDA-9039-C2ED3F9AB8C1}"/>
              </a:ext>
            </a:extLst>
          </p:cNvPr>
          <p:cNvSpPr>
            <a:spLocks noGrp="1"/>
          </p:cNvSpPr>
          <p:nvPr>
            <p:ph type="title"/>
          </p:nvPr>
        </p:nvSpPr>
        <p:spPr>
          <a:xfrm>
            <a:off x="363538" y="132389"/>
            <a:ext cx="8416925" cy="800219"/>
          </a:xfrm>
        </p:spPr>
        <p:txBody>
          <a:bodyPr/>
          <a:lstStyle/>
          <a:p>
            <a:r>
              <a:rPr lang="en-US" dirty="0"/>
              <a:t>Future-state treasury landscape</a:t>
            </a:r>
            <a:br>
              <a:rPr lang="en-US" dirty="0"/>
            </a:br>
            <a:r>
              <a:rPr lang="en-US" sz="2000" dirty="0"/>
              <a:t>Enabled by sap s/4hana</a:t>
            </a:r>
            <a:endParaRPr lang="en-GB" sz="2000" dirty="0"/>
          </a:p>
        </p:txBody>
      </p:sp>
      <p:sp>
        <p:nvSpPr>
          <p:cNvPr id="19" name="Freeform 38">
            <a:extLst>
              <a:ext uri="{FF2B5EF4-FFF2-40B4-BE49-F238E27FC236}">
                <a16:creationId xmlns:a16="http://schemas.microsoft.com/office/drawing/2014/main" id="{7DD2C97C-1038-4B63-A3D2-C8AD1EE88D1A}"/>
              </a:ext>
            </a:extLst>
          </p:cNvPr>
          <p:cNvSpPr/>
          <p:nvPr/>
        </p:nvSpPr>
        <p:spPr>
          <a:xfrm>
            <a:off x="3969504" y="2133528"/>
            <a:ext cx="1204996" cy="1276072"/>
          </a:xfrm>
          <a:custGeom>
            <a:avLst/>
            <a:gdLst>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2359024 h 2359024"/>
              <a:gd name="connsiteX119" fmla="*/ 411984 w 2316162"/>
              <a:gd name="connsiteY119" fmla="*/ 1368423 h 2359024"/>
              <a:gd name="connsiteX120" fmla="*/ 409575 w 2316162"/>
              <a:gd name="connsiteY120" fmla="*/ 1368423 h 2359024"/>
              <a:gd name="connsiteX121" fmla="*/ 409575 w 2316162"/>
              <a:gd name="connsiteY121" fmla="*/ 1306513 h 2359024"/>
              <a:gd name="connsiteX122" fmla="*/ 406400 w 2316162"/>
              <a:gd name="connsiteY122" fmla="*/ 1284288 h 2359024"/>
              <a:gd name="connsiteX123" fmla="*/ 398463 w 2316162"/>
              <a:gd name="connsiteY123" fmla="*/ 1266825 h 2359024"/>
              <a:gd name="connsiteX124" fmla="*/ 382588 w 2316162"/>
              <a:gd name="connsiteY124" fmla="*/ 1254125 h 2359024"/>
              <a:gd name="connsiteX125" fmla="*/ 365125 w 2316162"/>
              <a:gd name="connsiteY125" fmla="*/ 1247775 h 2359024"/>
              <a:gd name="connsiteX126" fmla="*/ 344488 w 2316162"/>
              <a:gd name="connsiteY126" fmla="*/ 1246188 h 2359024"/>
              <a:gd name="connsiteX127" fmla="*/ 320675 w 2316162"/>
              <a:gd name="connsiteY127" fmla="*/ 1249363 h 2359024"/>
              <a:gd name="connsiteX128" fmla="*/ 295275 w 2316162"/>
              <a:gd name="connsiteY128" fmla="*/ 1257300 h 2359024"/>
              <a:gd name="connsiteX129" fmla="*/ 292100 w 2316162"/>
              <a:gd name="connsiteY129" fmla="*/ 1258888 h 2359024"/>
              <a:gd name="connsiteX130" fmla="*/ 282575 w 2316162"/>
              <a:gd name="connsiteY130" fmla="*/ 1262063 h 2359024"/>
              <a:gd name="connsiteX131" fmla="*/ 266700 w 2316162"/>
              <a:gd name="connsiteY131" fmla="*/ 1265238 h 2359024"/>
              <a:gd name="connsiteX132" fmla="*/ 249238 w 2316162"/>
              <a:gd name="connsiteY132" fmla="*/ 1270000 h 2359024"/>
              <a:gd name="connsiteX133" fmla="*/ 227013 w 2316162"/>
              <a:gd name="connsiteY133" fmla="*/ 1273175 h 2359024"/>
              <a:gd name="connsiteX134" fmla="*/ 204788 w 2316162"/>
              <a:gd name="connsiteY134" fmla="*/ 1277938 h 2359024"/>
              <a:gd name="connsiteX135" fmla="*/ 184150 w 2316162"/>
              <a:gd name="connsiteY135" fmla="*/ 1279525 h 2359024"/>
              <a:gd name="connsiteX136" fmla="*/ 165100 w 2316162"/>
              <a:gd name="connsiteY136" fmla="*/ 1281113 h 2359024"/>
              <a:gd name="connsiteX137" fmla="*/ 127000 w 2316162"/>
              <a:gd name="connsiteY137" fmla="*/ 1276350 h 2359024"/>
              <a:gd name="connsiteX138" fmla="*/ 92075 w 2316162"/>
              <a:gd name="connsiteY138" fmla="*/ 1265238 h 2359024"/>
              <a:gd name="connsiteX139" fmla="*/ 61913 w 2316162"/>
              <a:gd name="connsiteY139" fmla="*/ 1246188 h 2359024"/>
              <a:gd name="connsiteX140" fmla="*/ 36513 w 2316162"/>
              <a:gd name="connsiteY140" fmla="*/ 1220788 h 2359024"/>
              <a:gd name="connsiteX141" fmla="*/ 17463 w 2316162"/>
              <a:gd name="connsiteY141" fmla="*/ 1192213 h 2359024"/>
              <a:gd name="connsiteX142" fmla="*/ 4763 w 2316162"/>
              <a:gd name="connsiteY142" fmla="*/ 1158875 h 2359024"/>
              <a:gd name="connsiteX143" fmla="*/ 0 w 2316162"/>
              <a:gd name="connsiteY143" fmla="*/ 1122362 h 2359024"/>
              <a:gd name="connsiteX144" fmla="*/ 4763 w 2316162"/>
              <a:gd name="connsiteY144" fmla="*/ 1085850 h 2359024"/>
              <a:gd name="connsiteX145" fmla="*/ 17463 w 2316162"/>
              <a:gd name="connsiteY145" fmla="*/ 1052512 h 2359024"/>
              <a:gd name="connsiteX146" fmla="*/ 36513 w 2316162"/>
              <a:gd name="connsiteY146" fmla="*/ 1022350 h 2359024"/>
              <a:gd name="connsiteX147" fmla="*/ 61913 w 2316162"/>
              <a:gd name="connsiteY147" fmla="*/ 998537 h 2359024"/>
              <a:gd name="connsiteX148" fmla="*/ 92075 w 2316162"/>
              <a:gd name="connsiteY148" fmla="*/ 979487 h 2359024"/>
              <a:gd name="connsiteX149" fmla="*/ 127000 w 2316162"/>
              <a:gd name="connsiteY149" fmla="*/ 968375 h 2359024"/>
              <a:gd name="connsiteX150" fmla="*/ 165100 w 2316162"/>
              <a:gd name="connsiteY150" fmla="*/ 963612 h 2359024"/>
              <a:gd name="connsiteX151" fmla="*/ 184150 w 2316162"/>
              <a:gd name="connsiteY151" fmla="*/ 965200 h 2359024"/>
              <a:gd name="connsiteX152" fmla="*/ 206375 w 2316162"/>
              <a:gd name="connsiteY152" fmla="*/ 969962 h 2359024"/>
              <a:gd name="connsiteX153" fmla="*/ 230188 w 2316162"/>
              <a:gd name="connsiteY153" fmla="*/ 976312 h 2359024"/>
              <a:gd name="connsiteX154" fmla="*/ 252413 w 2316162"/>
              <a:gd name="connsiteY154" fmla="*/ 984250 h 2359024"/>
              <a:gd name="connsiteX155" fmla="*/ 273050 w 2316162"/>
              <a:gd name="connsiteY155" fmla="*/ 990600 h 2359024"/>
              <a:gd name="connsiteX156" fmla="*/ 290513 w 2316162"/>
              <a:gd name="connsiteY156" fmla="*/ 996950 h 2359024"/>
              <a:gd name="connsiteX157" fmla="*/ 301625 w 2316162"/>
              <a:gd name="connsiteY157" fmla="*/ 1001712 h 2359024"/>
              <a:gd name="connsiteX158" fmla="*/ 304800 w 2316162"/>
              <a:gd name="connsiteY158" fmla="*/ 1003300 h 2359024"/>
              <a:gd name="connsiteX159" fmla="*/ 333375 w 2316162"/>
              <a:gd name="connsiteY159" fmla="*/ 1011237 h 2359024"/>
              <a:gd name="connsiteX160" fmla="*/ 358775 w 2316162"/>
              <a:gd name="connsiteY160" fmla="*/ 1009650 h 2359024"/>
              <a:gd name="connsiteX161" fmla="*/ 379413 w 2316162"/>
              <a:gd name="connsiteY161" fmla="*/ 1001712 h 2359024"/>
              <a:gd name="connsiteX162" fmla="*/ 396875 w 2316162"/>
              <a:gd name="connsiteY162" fmla="*/ 987425 h 2359024"/>
              <a:gd name="connsiteX163" fmla="*/ 406400 w 2316162"/>
              <a:gd name="connsiteY163" fmla="*/ 965200 h 2359024"/>
              <a:gd name="connsiteX164" fmla="*/ 409575 w 2316162"/>
              <a:gd name="connsiteY164" fmla="*/ 936625 h 2359024"/>
              <a:gd name="connsiteX165" fmla="*/ 409575 w 2316162"/>
              <a:gd name="connsiteY165" fmla="*/ 402374 h 2359024"/>
              <a:gd name="connsiteX166" fmla="*/ 412616 w 2316162"/>
              <a:gd name="connsiteY166" fmla="*/ 402374 h 2359024"/>
              <a:gd name="connsiteX167" fmla="*/ 412616 w 2316162"/>
              <a:gd name="connsiteY167" fmla="*/ 395287 h 2359024"/>
              <a:gd name="connsiteX168" fmla="*/ 969962 w 2316162"/>
              <a:gd name="connsiteY168" fmla="*/ 395287 h 2359024"/>
              <a:gd name="connsiteX169" fmla="*/ 996950 w 2316162"/>
              <a:gd name="connsiteY169" fmla="*/ 392112 h 2359024"/>
              <a:gd name="connsiteX170" fmla="*/ 1020762 w 2316162"/>
              <a:gd name="connsiteY170" fmla="*/ 382587 h 2359024"/>
              <a:gd name="connsiteX171" fmla="*/ 1036637 w 2316162"/>
              <a:gd name="connsiteY171" fmla="*/ 366712 h 2359024"/>
              <a:gd name="connsiteX172" fmla="*/ 1044575 w 2316162"/>
              <a:gd name="connsiteY172" fmla="*/ 346075 h 2359024"/>
              <a:gd name="connsiteX173" fmla="*/ 1046162 w 2316162"/>
              <a:gd name="connsiteY173" fmla="*/ 322262 h 2359024"/>
              <a:gd name="connsiteX174" fmla="*/ 1038225 w 2316162"/>
              <a:gd name="connsiteY174" fmla="*/ 295275 h 2359024"/>
              <a:gd name="connsiteX175" fmla="*/ 1036637 w 2316162"/>
              <a:gd name="connsiteY175" fmla="*/ 290512 h 2359024"/>
              <a:gd name="connsiteX176" fmla="*/ 1031875 w 2316162"/>
              <a:gd name="connsiteY176" fmla="*/ 280987 h 2359024"/>
              <a:gd name="connsiteX177" fmla="*/ 1025525 w 2316162"/>
              <a:gd name="connsiteY177" fmla="*/ 265112 h 2359024"/>
              <a:gd name="connsiteX178" fmla="*/ 1016000 w 2316162"/>
              <a:gd name="connsiteY178" fmla="*/ 244475 h 2359024"/>
              <a:gd name="connsiteX179" fmla="*/ 1008062 w 2316162"/>
              <a:gd name="connsiteY179" fmla="*/ 222250 h 2359024"/>
              <a:gd name="connsiteX180" fmla="*/ 1001712 w 2316162"/>
              <a:gd name="connsiteY180" fmla="*/ 200025 h 2359024"/>
              <a:gd name="connsiteX181" fmla="*/ 996950 w 2316162"/>
              <a:gd name="connsiteY181" fmla="*/ 177800 h 2359024"/>
              <a:gd name="connsiteX182" fmla="*/ 995362 w 2316162"/>
              <a:gd name="connsiteY182" fmla="*/ 158750 h 2359024"/>
              <a:gd name="connsiteX183" fmla="*/ 1000125 w 2316162"/>
              <a:gd name="connsiteY183" fmla="*/ 122237 h 2359024"/>
              <a:gd name="connsiteX184" fmla="*/ 1011237 w 2316162"/>
              <a:gd name="connsiteY184" fmla="*/ 88900 h 2359024"/>
              <a:gd name="connsiteX185" fmla="*/ 1031875 w 2316162"/>
              <a:gd name="connsiteY185" fmla="*/ 60325 h 2359024"/>
              <a:gd name="connsiteX186" fmla="*/ 1057275 w 2316162"/>
              <a:gd name="connsiteY186" fmla="*/ 34925 h 2359024"/>
              <a:gd name="connsiteX187" fmla="*/ 1087437 w 2316162"/>
              <a:gd name="connsiteY187" fmla="*/ 15875 h 2359024"/>
              <a:gd name="connsiteX188" fmla="*/ 1122362 w 2316162"/>
              <a:gd name="connsiteY188" fmla="*/ 4762 h 2359024"/>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1368423 h 2359024"/>
              <a:gd name="connsiteX119" fmla="*/ 409575 w 2316162"/>
              <a:gd name="connsiteY119" fmla="*/ 1368423 h 2359024"/>
              <a:gd name="connsiteX120" fmla="*/ 409575 w 2316162"/>
              <a:gd name="connsiteY120" fmla="*/ 1306513 h 2359024"/>
              <a:gd name="connsiteX121" fmla="*/ 406400 w 2316162"/>
              <a:gd name="connsiteY121" fmla="*/ 1284288 h 2359024"/>
              <a:gd name="connsiteX122" fmla="*/ 398463 w 2316162"/>
              <a:gd name="connsiteY122" fmla="*/ 1266825 h 2359024"/>
              <a:gd name="connsiteX123" fmla="*/ 382588 w 2316162"/>
              <a:gd name="connsiteY123" fmla="*/ 1254125 h 2359024"/>
              <a:gd name="connsiteX124" fmla="*/ 365125 w 2316162"/>
              <a:gd name="connsiteY124" fmla="*/ 1247775 h 2359024"/>
              <a:gd name="connsiteX125" fmla="*/ 344488 w 2316162"/>
              <a:gd name="connsiteY125" fmla="*/ 1246188 h 2359024"/>
              <a:gd name="connsiteX126" fmla="*/ 320675 w 2316162"/>
              <a:gd name="connsiteY126" fmla="*/ 1249363 h 2359024"/>
              <a:gd name="connsiteX127" fmla="*/ 295275 w 2316162"/>
              <a:gd name="connsiteY127" fmla="*/ 1257300 h 2359024"/>
              <a:gd name="connsiteX128" fmla="*/ 292100 w 2316162"/>
              <a:gd name="connsiteY128" fmla="*/ 1258888 h 2359024"/>
              <a:gd name="connsiteX129" fmla="*/ 282575 w 2316162"/>
              <a:gd name="connsiteY129" fmla="*/ 1262063 h 2359024"/>
              <a:gd name="connsiteX130" fmla="*/ 266700 w 2316162"/>
              <a:gd name="connsiteY130" fmla="*/ 1265238 h 2359024"/>
              <a:gd name="connsiteX131" fmla="*/ 249238 w 2316162"/>
              <a:gd name="connsiteY131" fmla="*/ 1270000 h 2359024"/>
              <a:gd name="connsiteX132" fmla="*/ 227013 w 2316162"/>
              <a:gd name="connsiteY132" fmla="*/ 1273175 h 2359024"/>
              <a:gd name="connsiteX133" fmla="*/ 204788 w 2316162"/>
              <a:gd name="connsiteY133" fmla="*/ 1277938 h 2359024"/>
              <a:gd name="connsiteX134" fmla="*/ 184150 w 2316162"/>
              <a:gd name="connsiteY134" fmla="*/ 1279525 h 2359024"/>
              <a:gd name="connsiteX135" fmla="*/ 165100 w 2316162"/>
              <a:gd name="connsiteY135" fmla="*/ 1281113 h 2359024"/>
              <a:gd name="connsiteX136" fmla="*/ 127000 w 2316162"/>
              <a:gd name="connsiteY136" fmla="*/ 1276350 h 2359024"/>
              <a:gd name="connsiteX137" fmla="*/ 92075 w 2316162"/>
              <a:gd name="connsiteY137" fmla="*/ 1265238 h 2359024"/>
              <a:gd name="connsiteX138" fmla="*/ 61913 w 2316162"/>
              <a:gd name="connsiteY138" fmla="*/ 1246188 h 2359024"/>
              <a:gd name="connsiteX139" fmla="*/ 36513 w 2316162"/>
              <a:gd name="connsiteY139" fmla="*/ 1220788 h 2359024"/>
              <a:gd name="connsiteX140" fmla="*/ 17463 w 2316162"/>
              <a:gd name="connsiteY140" fmla="*/ 1192213 h 2359024"/>
              <a:gd name="connsiteX141" fmla="*/ 4763 w 2316162"/>
              <a:gd name="connsiteY141" fmla="*/ 1158875 h 2359024"/>
              <a:gd name="connsiteX142" fmla="*/ 0 w 2316162"/>
              <a:gd name="connsiteY142" fmla="*/ 1122362 h 2359024"/>
              <a:gd name="connsiteX143" fmla="*/ 4763 w 2316162"/>
              <a:gd name="connsiteY143" fmla="*/ 1085850 h 2359024"/>
              <a:gd name="connsiteX144" fmla="*/ 17463 w 2316162"/>
              <a:gd name="connsiteY144" fmla="*/ 1052512 h 2359024"/>
              <a:gd name="connsiteX145" fmla="*/ 36513 w 2316162"/>
              <a:gd name="connsiteY145" fmla="*/ 1022350 h 2359024"/>
              <a:gd name="connsiteX146" fmla="*/ 61913 w 2316162"/>
              <a:gd name="connsiteY146" fmla="*/ 998537 h 2359024"/>
              <a:gd name="connsiteX147" fmla="*/ 92075 w 2316162"/>
              <a:gd name="connsiteY147" fmla="*/ 979487 h 2359024"/>
              <a:gd name="connsiteX148" fmla="*/ 127000 w 2316162"/>
              <a:gd name="connsiteY148" fmla="*/ 968375 h 2359024"/>
              <a:gd name="connsiteX149" fmla="*/ 165100 w 2316162"/>
              <a:gd name="connsiteY149" fmla="*/ 963612 h 2359024"/>
              <a:gd name="connsiteX150" fmla="*/ 184150 w 2316162"/>
              <a:gd name="connsiteY150" fmla="*/ 965200 h 2359024"/>
              <a:gd name="connsiteX151" fmla="*/ 206375 w 2316162"/>
              <a:gd name="connsiteY151" fmla="*/ 969962 h 2359024"/>
              <a:gd name="connsiteX152" fmla="*/ 230188 w 2316162"/>
              <a:gd name="connsiteY152" fmla="*/ 976312 h 2359024"/>
              <a:gd name="connsiteX153" fmla="*/ 252413 w 2316162"/>
              <a:gd name="connsiteY153" fmla="*/ 984250 h 2359024"/>
              <a:gd name="connsiteX154" fmla="*/ 273050 w 2316162"/>
              <a:gd name="connsiteY154" fmla="*/ 990600 h 2359024"/>
              <a:gd name="connsiteX155" fmla="*/ 290513 w 2316162"/>
              <a:gd name="connsiteY155" fmla="*/ 996950 h 2359024"/>
              <a:gd name="connsiteX156" fmla="*/ 301625 w 2316162"/>
              <a:gd name="connsiteY156" fmla="*/ 1001712 h 2359024"/>
              <a:gd name="connsiteX157" fmla="*/ 304800 w 2316162"/>
              <a:gd name="connsiteY157" fmla="*/ 1003300 h 2359024"/>
              <a:gd name="connsiteX158" fmla="*/ 333375 w 2316162"/>
              <a:gd name="connsiteY158" fmla="*/ 1011237 h 2359024"/>
              <a:gd name="connsiteX159" fmla="*/ 358775 w 2316162"/>
              <a:gd name="connsiteY159" fmla="*/ 1009650 h 2359024"/>
              <a:gd name="connsiteX160" fmla="*/ 379413 w 2316162"/>
              <a:gd name="connsiteY160" fmla="*/ 1001712 h 2359024"/>
              <a:gd name="connsiteX161" fmla="*/ 396875 w 2316162"/>
              <a:gd name="connsiteY161" fmla="*/ 987425 h 2359024"/>
              <a:gd name="connsiteX162" fmla="*/ 406400 w 2316162"/>
              <a:gd name="connsiteY162" fmla="*/ 965200 h 2359024"/>
              <a:gd name="connsiteX163" fmla="*/ 409575 w 2316162"/>
              <a:gd name="connsiteY163" fmla="*/ 936625 h 2359024"/>
              <a:gd name="connsiteX164" fmla="*/ 409575 w 2316162"/>
              <a:gd name="connsiteY164" fmla="*/ 402374 h 2359024"/>
              <a:gd name="connsiteX165" fmla="*/ 412616 w 2316162"/>
              <a:gd name="connsiteY165" fmla="*/ 402374 h 2359024"/>
              <a:gd name="connsiteX166" fmla="*/ 412616 w 2316162"/>
              <a:gd name="connsiteY166" fmla="*/ 395287 h 2359024"/>
              <a:gd name="connsiteX167" fmla="*/ 969962 w 2316162"/>
              <a:gd name="connsiteY167" fmla="*/ 395287 h 2359024"/>
              <a:gd name="connsiteX168" fmla="*/ 996950 w 2316162"/>
              <a:gd name="connsiteY168" fmla="*/ 392112 h 2359024"/>
              <a:gd name="connsiteX169" fmla="*/ 1020762 w 2316162"/>
              <a:gd name="connsiteY169" fmla="*/ 382587 h 2359024"/>
              <a:gd name="connsiteX170" fmla="*/ 1036637 w 2316162"/>
              <a:gd name="connsiteY170" fmla="*/ 366712 h 2359024"/>
              <a:gd name="connsiteX171" fmla="*/ 1044575 w 2316162"/>
              <a:gd name="connsiteY171" fmla="*/ 346075 h 2359024"/>
              <a:gd name="connsiteX172" fmla="*/ 1046162 w 2316162"/>
              <a:gd name="connsiteY172" fmla="*/ 322262 h 2359024"/>
              <a:gd name="connsiteX173" fmla="*/ 1038225 w 2316162"/>
              <a:gd name="connsiteY173" fmla="*/ 295275 h 2359024"/>
              <a:gd name="connsiteX174" fmla="*/ 1036637 w 2316162"/>
              <a:gd name="connsiteY174" fmla="*/ 290512 h 2359024"/>
              <a:gd name="connsiteX175" fmla="*/ 1031875 w 2316162"/>
              <a:gd name="connsiteY175" fmla="*/ 280987 h 2359024"/>
              <a:gd name="connsiteX176" fmla="*/ 1025525 w 2316162"/>
              <a:gd name="connsiteY176" fmla="*/ 265112 h 2359024"/>
              <a:gd name="connsiteX177" fmla="*/ 1016000 w 2316162"/>
              <a:gd name="connsiteY177" fmla="*/ 244475 h 2359024"/>
              <a:gd name="connsiteX178" fmla="*/ 1008062 w 2316162"/>
              <a:gd name="connsiteY178" fmla="*/ 222250 h 2359024"/>
              <a:gd name="connsiteX179" fmla="*/ 1001712 w 2316162"/>
              <a:gd name="connsiteY179" fmla="*/ 200025 h 2359024"/>
              <a:gd name="connsiteX180" fmla="*/ 996950 w 2316162"/>
              <a:gd name="connsiteY180" fmla="*/ 177800 h 2359024"/>
              <a:gd name="connsiteX181" fmla="*/ 995362 w 2316162"/>
              <a:gd name="connsiteY181" fmla="*/ 158750 h 2359024"/>
              <a:gd name="connsiteX182" fmla="*/ 1000125 w 2316162"/>
              <a:gd name="connsiteY182" fmla="*/ 122237 h 2359024"/>
              <a:gd name="connsiteX183" fmla="*/ 1011237 w 2316162"/>
              <a:gd name="connsiteY183" fmla="*/ 88900 h 2359024"/>
              <a:gd name="connsiteX184" fmla="*/ 1031875 w 2316162"/>
              <a:gd name="connsiteY184" fmla="*/ 60325 h 2359024"/>
              <a:gd name="connsiteX185" fmla="*/ 1057275 w 2316162"/>
              <a:gd name="connsiteY185" fmla="*/ 34925 h 2359024"/>
              <a:gd name="connsiteX186" fmla="*/ 1087437 w 2316162"/>
              <a:gd name="connsiteY186" fmla="*/ 15875 h 2359024"/>
              <a:gd name="connsiteX187" fmla="*/ 1122362 w 2316162"/>
              <a:gd name="connsiteY187" fmla="*/ 4762 h 2359024"/>
              <a:gd name="connsiteX188" fmla="*/ 1160462 w 2316162"/>
              <a:gd name="connsiteY188" fmla="*/ 0 h 2359024"/>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20687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09209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316162" h="2259012">
                <a:moveTo>
                  <a:pt x="1160462" y="0"/>
                </a:moveTo>
                <a:lnTo>
                  <a:pt x="1198562" y="4762"/>
                </a:lnTo>
                <a:lnTo>
                  <a:pt x="1231900" y="15875"/>
                </a:lnTo>
                <a:lnTo>
                  <a:pt x="1262062" y="34925"/>
                </a:lnTo>
                <a:lnTo>
                  <a:pt x="1289050" y="60325"/>
                </a:lnTo>
                <a:lnTo>
                  <a:pt x="1308100" y="88900"/>
                </a:lnTo>
                <a:lnTo>
                  <a:pt x="1320800" y="122237"/>
                </a:lnTo>
                <a:lnTo>
                  <a:pt x="1323975" y="158750"/>
                </a:lnTo>
                <a:lnTo>
                  <a:pt x="1322387" y="177800"/>
                </a:lnTo>
                <a:lnTo>
                  <a:pt x="1317625" y="200025"/>
                </a:lnTo>
                <a:lnTo>
                  <a:pt x="1311275" y="222250"/>
                </a:lnTo>
                <a:lnTo>
                  <a:pt x="1304925" y="244475"/>
                </a:lnTo>
                <a:lnTo>
                  <a:pt x="1296987" y="265112"/>
                </a:lnTo>
                <a:lnTo>
                  <a:pt x="1290637" y="280987"/>
                </a:lnTo>
                <a:lnTo>
                  <a:pt x="1285875" y="290512"/>
                </a:lnTo>
                <a:lnTo>
                  <a:pt x="1282700" y="295275"/>
                </a:lnTo>
                <a:lnTo>
                  <a:pt x="1274762" y="322262"/>
                </a:lnTo>
                <a:lnTo>
                  <a:pt x="1274762" y="346075"/>
                </a:lnTo>
                <a:lnTo>
                  <a:pt x="1285875" y="366712"/>
                </a:lnTo>
                <a:lnTo>
                  <a:pt x="1300162" y="382587"/>
                </a:lnTo>
                <a:lnTo>
                  <a:pt x="1322387" y="392112"/>
                </a:lnTo>
                <a:lnTo>
                  <a:pt x="1350962" y="395287"/>
                </a:lnTo>
                <a:lnTo>
                  <a:pt x="1908175" y="395287"/>
                </a:lnTo>
                <a:lnTo>
                  <a:pt x="1911350" y="477837"/>
                </a:lnTo>
                <a:lnTo>
                  <a:pt x="1911350" y="485775"/>
                </a:lnTo>
                <a:lnTo>
                  <a:pt x="1911350" y="496887"/>
                </a:lnTo>
                <a:lnTo>
                  <a:pt x="1911350" y="506412"/>
                </a:lnTo>
                <a:cubicBezTo>
                  <a:pt x="1910292" y="649816"/>
                  <a:pt x="1909233" y="793221"/>
                  <a:pt x="1908175" y="936625"/>
                </a:cubicBezTo>
                <a:lnTo>
                  <a:pt x="1909762" y="962025"/>
                </a:lnTo>
                <a:lnTo>
                  <a:pt x="1917700" y="981075"/>
                </a:lnTo>
                <a:lnTo>
                  <a:pt x="1930400" y="995362"/>
                </a:lnTo>
                <a:lnTo>
                  <a:pt x="1946275" y="1006475"/>
                </a:lnTo>
                <a:lnTo>
                  <a:pt x="1965325" y="1011237"/>
                </a:lnTo>
                <a:lnTo>
                  <a:pt x="1985962" y="1009650"/>
                </a:lnTo>
                <a:lnTo>
                  <a:pt x="2011362" y="1003300"/>
                </a:lnTo>
                <a:lnTo>
                  <a:pt x="2016125" y="1001712"/>
                </a:lnTo>
                <a:lnTo>
                  <a:pt x="2027237" y="996950"/>
                </a:lnTo>
                <a:lnTo>
                  <a:pt x="2043112" y="990600"/>
                </a:lnTo>
                <a:lnTo>
                  <a:pt x="2063750" y="982662"/>
                </a:lnTo>
                <a:lnTo>
                  <a:pt x="2087562" y="976312"/>
                </a:lnTo>
                <a:lnTo>
                  <a:pt x="2109787" y="969962"/>
                </a:lnTo>
                <a:lnTo>
                  <a:pt x="2132012" y="965200"/>
                </a:lnTo>
                <a:lnTo>
                  <a:pt x="2151062" y="963612"/>
                </a:lnTo>
                <a:lnTo>
                  <a:pt x="2190750" y="968375"/>
                </a:lnTo>
                <a:lnTo>
                  <a:pt x="2224087" y="979487"/>
                </a:lnTo>
                <a:lnTo>
                  <a:pt x="2254250" y="998537"/>
                </a:lnTo>
                <a:lnTo>
                  <a:pt x="2281237" y="1022350"/>
                </a:lnTo>
                <a:lnTo>
                  <a:pt x="2298700" y="1052512"/>
                </a:lnTo>
                <a:lnTo>
                  <a:pt x="2311400" y="1085850"/>
                </a:lnTo>
                <a:lnTo>
                  <a:pt x="2316162" y="1120775"/>
                </a:lnTo>
                <a:lnTo>
                  <a:pt x="2311400" y="1158875"/>
                </a:lnTo>
                <a:lnTo>
                  <a:pt x="2298700" y="1192212"/>
                </a:lnTo>
                <a:lnTo>
                  <a:pt x="2281237" y="1220787"/>
                </a:lnTo>
                <a:lnTo>
                  <a:pt x="2254250" y="1246187"/>
                </a:lnTo>
                <a:lnTo>
                  <a:pt x="2224087" y="1265237"/>
                </a:lnTo>
                <a:lnTo>
                  <a:pt x="2190750" y="1276350"/>
                </a:lnTo>
                <a:lnTo>
                  <a:pt x="2151062" y="1281112"/>
                </a:lnTo>
                <a:lnTo>
                  <a:pt x="2132012" y="1279525"/>
                </a:lnTo>
                <a:lnTo>
                  <a:pt x="2109787" y="1274762"/>
                </a:lnTo>
                <a:lnTo>
                  <a:pt x="2087562" y="1268412"/>
                </a:lnTo>
                <a:lnTo>
                  <a:pt x="2063750" y="1260475"/>
                </a:lnTo>
                <a:lnTo>
                  <a:pt x="2043112" y="1254125"/>
                </a:lnTo>
                <a:lnTo>
                  <a:pt x="2027237" y="1247775"/>
                </a:lnTo>
                <a:lnTo>
                  <a:pt x="2016125" y="1243012"/>
                </a:lnTo>
                <a:lnTo>
                  <a:pt x="2011362" y="1241425"/>
                </a:lnTo>
                <a:lnTo>
                  <a:pt x="1985962" y="1235075"/>
                </a:lnTo>
                <a:lnTo>
                  <a:pt x="1965325" y="1233487"/>
                </a:lnTo>
                <a:lnTo>
                  <a:pt x="1946275" y="1238250"/>
                </a:lnTo>
                <a:lnTo>
                  <a:pt x="1930400" y="1247775"/>
                </a:lnTo>
                <a:lnTo>
                  <a:pt x="1917700" y="1263650"/>
                </a:lnTo>
                <a:lnTo>
                  <a:pt x="1909762" y="1282700"/>
                </a:lnTo>
                <a:lnTo>
                  <a:pt x="1908175" y="1306512"/>
                </a:lnTo>
                <a:cubicBezTo>
                  <a:pt x="1908518" y="1491530"/>
                  <a:pt x="1908860" y="1676547"/>
                  <a:pt x="1909203" y="1861565"/>
                </a:cubicBezTo>
                <a:lnTo>
                  <a:pt x="1358900" y="1862137"/>
                </a:lnTo>
                <a:lnTo>
                  <a:pt x="1331912" y="1866900"/>
                </a:lnTo>
                <a:lnTo>
                  <a:pt x="1309687" y="1878012"/>
                </a:lnTo>
                <a:lnTo>
                  <a:pt x="1293812" y="1892300"/>
                </a:lnTo>
                <a:lnTo>
                  <a:pt x="1285875" y="1912937"/>
                </a:lnTo>
                <a:lnTo>
                  <a:pt x="1282700" y="1936750"/>
                </a:lnTo>
                <a:lnTo>
                  <a:pt x="1292225" y="1963737"/>
                </a:lnTo>
                <a:lnTo>
                  <a:pt x="1293812" y="1968500"/>
                </a:lnTo>
                <a:lnTo>
                  <a:pt x="1298575" y="1978025"/>
                </a:lnTo>
                <a:lnTo>
                  <a:pt x="1304925" y="1993900"/>
                </a:lnTo>
                <a:lnTo>
                  <a:pt x="1312862" y="2014537"/>
                </a:lnTo>
                <a:lnTo>
                  <a:pt x="1320800" y="2035175"/>
                </a:lnTo>
                <a:lnTo>
                  <a:pt x="1327150" y="2058987"/>
                </a:lnTo>
                <a:lnTo>
                  <a:pt x="1331912" y="2081212"/>
                </a:lnTo>
                <a:lnTo>
                  <a:pt x="1333500" y="2098675"/>
                </a:lnTo>
                <a:lnTo>
                  <a:pt x="1328737" y="2136775"/>
                </a:lnTo>
                <a:lnTo>
                  <a:pt x="1316037" y="2170112"/>
                </a:lnTo>
                <a:lnTo>
                  <a:pt x="1298575" y="2198687"/>
                </a:lnTo>
                <a:lnTo>
                  <a:pt x="1271587" y="2222500"/>
                </a:lnTo>
                <a:lnTo>
                  <a:pt x="1241425" y="2243137"/>
                </a:lnTo>
                <a:lnTo>
                  <a:pt x="1208087" y="2254250"/>
                </a:lnTo>
                <a:lnTo>
                  <a:pt x="1168400" y="2259012"/>
                </a:lnTo>
                <a:lnTo>
                  <a:pt x="1131887" y="2254250"/>
                </a:lnTo>
                <a:lnTo>
                  <a:pt x="1096962" y="2243137"/>
                </a:lnTo>
                <a:lnTo>
                  <a:pt x="1066800" y="2222500"/>
                </a:lnTo>
                <a:lnTo>
                  <a:pt x="1041400" y="2198687"/>
                </a:lnTo>
                <a:lnTo>
                  <a:pt x="1022350" y="2170112"/>
                </a:lnTo>
                <a:lnTo>
                  <a:pt x="1009650" y="2136775"/>
                </a:lnTo>
                <a:lnTo>
                  <a:pt x="1004887" y="2098675"/>
                </a:lnTo>
                <a:lnTo>
                  <a:pt x="1006475" y="2081212"/>
                </a:lnTo>
                <a:lnTo>
                  <a:pt x="1011237" y="2058987"/>
                </a:lnTo>
                <a:lnTo>
                  <a:pt x="1019175" y="2035175"/>
                </a:lnTo>
                <a:lnTo>
                  <a:pt x="1027112" y="2014537"/>
                </a:lnTo>
                <a:lnTo>
                  <a:pt x="1033462" y="1993900"/>
                </a:lnTo>
                <a:lnTo>
                  <a:pt x="1039812" y="1978025"/>
                </a:lnTo>
                <a:lnTo>
                  <a:pt x="1044575" y="1968500"/>
                </a:lnTo>
                <a:lnTo>
                  <a:pt x="1046162" y="1963737"/>
                </a:lnTo>
                <a:lnTo>
                  <a:pt x="1054100" y="1936750"/>
                </a:lnTo>
                <a:lnTo>
                  <a:pt x="1054100" y="1912937"/>
                </a:lnTo>
                <a:lnTo>
                  <a:pt x="1046162" y="1892300"/>
                </a:lnTo>
                <a:lnTo>
                  <a:pt x="1030287" y="1878012"/>
                </a:lnTo>
                <a:lnTo>
                  <a:pt x="1006475" y="1866900"/>
                </a:lnTo>
                <a:lnTo>
                  <a:pt x="979487" y="1862137"/>
                </a:lnTo>
                <a:lnTo>
                  <a:pt x="409209" y="1862137"/>
                </a:lnTo>
                <a:lnTo>
                  <a:pt x="411984" y="1368423"/>
                </a:lnTo>
                <a:lnTo>
                  <a:pt x="409575" y="1368423"/>
                </a:lnTo>
                <a:lnTo>
                  <a:pt x="409575" y="1306513"/>
                </a:lnTo>
                <a:lnTo>
                  <a:pt x="406400" y="1284288"/>
                </a:lnTo>
                <a:lnTo>
                  <a:pt x="398463" y="1266825"/>
                </a:lnTo>
                <a:lnTo>
                  <a:pt x="382588" y="1254125"/>
                </a:lnTo>
                <a:lnTo>
                  <a:pt x="365125" y="1247775"/>
                </a:lnTo>
                <a:lnTo>
                  <a:pt x="344488" y="1246188"/>
                </a:lnTo>
                <a:lnTo>
                  <a:pt x="320675" y="1249363"/>
                </a:lnTo>
                <a:lnTo>
                  <a:pt x="295275" y="1257300"/>
                </a:lnTo>
                <a:lnTo>
                  <a:pt x="292100" y="1258888"/>
                </a:lnTo>
                <a:lnTo>
                  <a:pt x="282575" y="1262063"/>
                </a:lnTo>
                <a:lnTo>
                  <a:pt x="266700" y="1265238"/>
                </a:lnTo>
                <a:lnTo>
                  <a:pt x="249238" y="1270000"/>
                </a:lnTo>
                <a:lnTo>
                  <a:pt x="227013" y="1273175"/>
                </a:lnTo>
                <a:lnTo>
                  <a:pt x="204788" y="1277938"/>
                </a:lnTo>
                <a:lnTo>
                  <a:pt x="184150" y="1279525"/>
                </a:lnTo>
                <a:lnTo>
                  <a:pt x="165100" y="1281113"/>
                </a:lnTo>
                <a:lnTo>
                  <a:pt x="127000" y="1276350"/>
                </a:lnTo>
                <a:lnTo>
                  <a:pt x="92075" y="1265238"/>
                </a:lnTo>
                <a:lnTo>
                  <a:pt x="61913" y="1246188"/>
                </a:lnTo>
                <a:lnTo>
                  <a:pt x="36513" y="1220788"/>
                </a:lnTo>
                <a:lnTo>
                  <a:pt x="17463" y="1192213"/>
                </a:lnTo>
                <a:lnTo>
                  <a:pt x="4763" y="1158875"/>
                </a:lnTo>
                <a:lnTo>
                  <a:pt x="0" y="1122362"/>
                </a:lnTo>
                <a:lnTo>
                  <a:pt x="4763" y="1085850"/>
                </a:lnTo>
                <a:lnTo>
                  <a:pt x="17463" y="1052512"/>
                </a:lnTo>
                <a:lnTo>
                  <a:pt x="36513" y="1022350"/>
                </a:lnTo>
                <a:lnTo>
                  <a:pt x="61913" y="998537"/>
                </a:lnTo>
                <a:lnTo>
                  <a:pt x="92075" y="979487"/>
                </a:lnTo>
                <a:lnTo>
                  <a:pt x="127000" y="968375"/>
                </a:lnTo>
                <a:lnTo>
                  <a:pt x="165100" y="963612"/>
                </a:lnTo>
                <a:lnTo>
                  <a:pt x="184150" y="965200"/>
                </a:lnTo>
                <a:lnTo>
                  <a:pt x="206375" y="969962"/>
                </a:lnTo>
                <a:lnTo>
                  <a:pt x="230188" y="976312"/>
                </a:lnTo>
                <a:lnTo>
                  <a:pt x="252413" y="984250"/>
                </a:lnTo>
                <a:lnTo>
                  <a:pt x="273050" y="990600"/>
                </a:lnTo>
                <a:lnTo>
                  <a:pt x="290513" y="996950"/>
                </a:lnTo>
                <a:lnTo>
                  <a:pt x="301625" y="1001712"/>
                </a:lnTo>
                <a:lnTo>
                  <a:pt x="304800" y="1003300"/>
                </a:lnTo>
                <a:lnTo>
                  <a:pt x="333375" y="1011237"/>
                </a:lnTo>
                <a:lnTo>
                  <a:pt x="358775" y="1009650"/>
                </a:lnTo>
                <a:lnTo>
                  <a:pt x="379413" y="1001712"/>
                </a:lnTo>
                <a:lnTo>
                  <a:pt x="396875" y="987425"/>
                </a:lnTo>
                <a:lnTo>
                  <a:pt x="406400" y="965200"/>
                </a:lnTo>
                <a:lnTo>
                  <a:pt x="409575" y="936625"/>
                </a:lnTo>
                <a:lnTo>
                  <a:pt x="409575" y="402374"/>
                </a:lnTo>
                <a:lnTo>
                  <a:pt x="412616" y="402374"/>
                </a:lnTo>
                <a:lnTo>
                  <a:pt x="412616" y="395287"/>
                </a:lnTo>
                <a:lnTo>
                  <a:pt x="969962" y="395287"/>
                </a:lnTo>
                <a:lnTo>
                  <a:pt x="996950" y="392112"/>
                </a:lnTo>
                <a:lnTo>
                  <a:pt x="1020762" y="382587"/>
                </a:lnTo>
                <a:lnTo>
                  <a:pt x="1036637" y="366712"/>
                </a:lnTo>
                <a:lnTo>
                  <a:pt x="1044575" y="346075"/>
                </a:lnTo>
                <a:lnTo>
                  <a:pt x="1046162" y="322262"/>
                </a:lnTo>
                <a:lnTo>
                  <a:pt x="1038225" y="295275"/>
                </a:lnTo>
                <a:lnTo>
                  <a:pt x="1036637" y="290512"/>
                </a:lnTo>
                <a:lnTo>
                  <a:pt x="1031875" y="280987"/>
                </a:lnTo>
                <a:lnTo>
                  <a:pt x="1025525" y="265112"/>
                </a:lnTo>
                <a:lnTo>
                  <a:pt x="1016000" y="244475"/>
                </a:lnTo>
                <a:lnTo>
                  <a:pt x="1008062" y="222250"/>
                </a:lnTo>
                <a:lnTo>
                  <a:pt x="1001712" y="200025"/>
                </a:lnTo>
                <a:lnTo>
                  <a:pt x="996950" y="177800"/>
                </a:lnTo>
                <a:lnTo>
                  <a:pt x="995362" y="158750"/>
                </a:lnTo>
                <a:lnTo>
                  <a:pt x="1000125" y="122237"/>
                </a:lnTo>
                <a:lnTo>
                  <a:pt x="1011237" y="88900"/>
                </a:lnTo>
                <a:lnTo>
                  <a:pt x="1031875" y="60325"/>
                </a:lnTo>
                <a:lnTo>
                  <a:pt x="1057275" y="34925"/>
                </a:lnTo>
                <a:lnTo>
                  <a:pt x="1087437" y="15875"/>
                </a:lnTo>
                <a:lnTo>
                  <a:pt x="1122362" y="4762"/>
                </a:lnTo>
                <a:lnTo>
                  <a:pt x="1160462" y="0"/>
                </a:lnTo>
                <a:close/>
              </a:path>
            </a:pathLst>
          </a:custGeom>
          <a:solidFill>
            <a:schemeClr val="bg1"/>
          </a:solidFill>
          <a:ln w="6350" cap="flat" cmpd="sng" algn="ctr">
            <a:solidFill>
              <a:schemeClr val="accent1"/>
            </a:solidFill>
            <a:prstDash val="solid"/>
          </a:ln>
          <a:effectLst/>
        </p:spPr>
        <p:txBody>
          <a:bodyPr rtlCol="0" anchor="ctr"/>
          <a:lstStyle/>
          <a:p>
            <a:pPr algn="ctr" defTabSz="914240"/>
            <a:endParaRPr lang="en-US" kern="0">
              <a:solidFill>
                <a:prstClr val="white"/>
              </a:solidFill>
              <a:latin typeface="Calibri"/>
            </a:endParaRPr>
          </a:p>
        </p:txBody>
      </p:sp>
      <p:sp>
        <p:nvSpPr>
          <p:cNvPr id="20" name="Freeform 7">
            <a:extLst>
              <a:ext uri="{FF2B5EF4-FFF2-40B4-BE49-F238E27FC236}">
                <a16:creationId xmlns:a16="http://schemas.microsoft.com/office/drawing/2014/main" id="{C3F7FD5B-C069-4908-B950-FECF9AD5BD08}"/>
              </a:ext>
            </a:extLst>
          </p:cNvPr>
          <p:cNvSpPr>
            <a:spLocks/>
          </p:cNvSpPr>
          <p:nvPr/>
        </p:nvSpPr>
        <p:spPr bwMode="auto">
          <a:xfrm>
            <a:off x="3187510" y="2135509"/>
            <a:ext cx="993564" cy="1042919"/>
          </a:xfrm>
          <a:custGeom>
            <a:avLst/>
            <a:gdLst>
              <a:gd name="T0" fmla="*/ 776 w 1203"/>
              <a:gd name="T1" fmla="*/ 10 h 1163"/>
              <a:gd name="T2" fmla="*/ 824 w 1203"/>
              <a:gd name="T3" fmla="*/ 56 h 1163"/>
              <a:gd name="T4" fmla="*/ 833 w 1203"/>
              <a:gd name="T5" fmla="*/ 112 h 1163"/>
              <a:gd name="T6" fmla="*/ 821 w 1203"/>
              <a:gd name="T7" fmla="*/ 154 h 1163"/>
              <a:gd name="T8" fmla="*/ 810 w 1203"/>
              <a:gd name="T9" fmla="*/ 183 h 1163"/>
              <a:gd name="T10" fmla="*/ 804 w 1203"/>
              <a:gd name="T11" fmla="*/ 218 h 1163"/>
              <a:gd name="T12" fmla="*/ 833 w 1203"/>
              <a:gd name="T13" fmla="*/ 246 h 1163"/>
              <a:gd name="T14" fmla="*/ 1203 w 1203"/>
              <a:gd name="T15" fmla="*/ 589 h 1163"/>
              <a:gd name="T16" fmla="*/ 1184 w 1203"/>
              <a:gd name="T17" fmla="*/ 630 h 1163"/>
              <a:gd name="T18" fmla="*/ 1137 w 1203"/>
              <a:gd name="T19" fmla="*/ 631 h 1163"/>
              <a:gd name="T20" fmla="*/ 1117 w 1203"/>
              <a:gd name="T21" fmla="*/ 623 h 1163"/>
              <a:gd name="T22" fmla="*/ 1075 w 1203"/>
              <a:gd name="T23" fmla="*/ 610 h 1163"/>
              <a:gd name="T24" fmla="*/ 1025 w 1203"/>
              <a:gd name="T25" fmla="*/ 609 h 1163"/>
              <a:gd name="T26" fmla="*/ 968 w 1203"/>
              <a:gd name="T27" fmla="*/ 643 h 1163"/>
              <a:gd name="T28" fmla="*/ 945 w 1203"/>
              <a:gd name="T29" fmla="*/ 706 h 1163"/>
              <a:gd name="T30" fmla="*/ 968 w 1203"/>
              <a:gd name="T31" fmla="*/ 768 h 1163"/>
              <a:gd name="T32" fmla="*/ 1025 w 1203"/>
              <a:gd name="T33" fmla="*/ 803 h 1163"/>
              <a:gd name="T34" fmla="*/ 1074 w 1203"/>
              <a:gd name="T35" fmla="*/ 804 h 1163"/>
              <a:gd name="T36" fmla="*/ 1113 w 1203"/>
              <a:gd name="T37" fmla="*/ 796 h 1163"/>
              <a:gd name="T38" fmla="*/ 1131 w 1203"/>
              <a:gd name="T39" fmla="*/ 791 h 1163"/>
              <a:gd name="T40" fmla="*/ 1175 w 1203"/>
              <a:gd name="T41" fmla="*/ 785 h 1163"/>
              <a:gd name="T42" fmla="*/ 1201 w 1203"/>
              <a:gd name="T43" fmla="*/ 808 h 1163"/>
              <a:gd name="T44" fmla="*/ 1147 w 1203"/>
              <a:gd name="T45" fmla="*/ 1163 h 1163"/>
              <a:gd name="T46" fmla="*/ 851 w 1203"/>
              <a:gd name="T47" fmla="*/ 1161 h 1163"/>
              <a:gd name="T48" fmla="*/ 809 w 1203"/>
              <a:gd name="T49" fmla="*/ 1143 h 1163"/>
              <a:gd name="T50" fmla="*/ 809 w 1203"/>
              <a:gd name="T51" fmla="*/ 1098 h 1163"/>
              <a:gd name="T52" fmla="*/ 817 w 1203"/>
              <a:gd name="T53" fmla="*/ 1079 h 1163"/>
              <a:gd name="T54" fmla="*/ 830 w 1203"/>
              <a:gd name="T55" fmla="*/ 1038 h 1163"/>
              <a:gd name="T56" fmla="*/ 831 w 1203"/>
              <a:gd name="T57" fmla="*/ 989 h 1163"/>
              <a:gd name="T58" fmla="*/ 795 w 1203"/>
              <a:gd name="T59" fmla="*/ 934 h 1163"/>
              <a:gd name="T60" fmla="*/ 730 w 1203"/>
              <a:gd name="T61" fmla="*/ 912 h 1163"/>
              <a:gd name="T62" fmla="*/ 666 w 1203"/>
              <a:gd name="T63" fmla="*/ 934 h 1163"/>
              <a:gd name="T64" fmla="*/ 630 w 1203"/>
              <a:gd name="T65" fmla="*/ 989 h 1163"/>
              <a:gd name="T66" fmla="*/ 631 w 1203"/>
              <a:gd name="T67" fmla="*/ 1038 h 1163"/>
              <a:gd name="T68" fmla="*/ 645 w 1203"/>
              <a:gd name="T69" fmla="*/ 1079 h 1163"/>
              <a:gd name="T70" fmla="*/ 653 w 1203"/>
              <a:gd name="T71" fmla="*/ 1098 h 1163"/>
              <a:gd name="T72" fmla="*/ 653 w 1203"/>
              <a:gd name="T73" fmla="*/ 1143 h 1163"/>
              <a:gd name="T74" fmla="*/ 610 w 1203"/>
              <a:gd name="T75" fmla="*/ 1161 h 1163"/>
              <a:gd name="T76" fmla="*/ 315 w 1203"/>
              <a:gd name="T77" fmla="*/ 1163 h 1163"/>
              <a:gd name="T78" fmla="*/ 256 w 1203"/>
              <a:gd name="T79" fmla="*/ 805 h 1163"/>
              <a:gd name="T80" fmla="*/ 226 w 1203"/>
              <a:gd name="T81" fmla="*/ 777 h 1163"/>
              <a:gd name="T82" fmla="*/ 193 w 1203"/>
              <a:gd name="T83" fmla="*/ 781 h 1163"/>
              <a:gd name="T84" fmla="*/ 170 w 1203"/>
              <a:gd name="T85" fmla="*/ 790 h 1163"/>
              <a:gd name="T86" fmla="*/ 129 w 1203"/>
              <a:gd name="T87" fmla="*/ 802 h 1163"/>
              <a:gd name="T88" fmla="*/ 85 w 1203"/>
              <a:gd name="T89" fmla="*/ 804 h 1163"/>
              <a:gd name="T90" fmla="*/ 46 w 1203"/>
              <a:gd name="T91" fmla="*/ 789 h 1163"/>
              <a:gd name="T92" fmla="*/ 8 w 1203"/>
              <a:gd name="T93" fmla="*/ 745 h 1163"/>
              <a:gd name="T94" fmla="*/ 2 w 1203"/>
              <a:gd name="T95" fmla="*/ 686 h 1163"/>
              <a:gd name="T96" fmla="*/ 31 w 1203"/>
              <a:gd name="T97" fmla="*/ 635 h 1163"/>
              <a:gd name="T98" fmla="*/ 66 w 1203"/>
              <a:gd name="T99" fmla="*/ 613 h 1163"/>
              <a:gd name="T100" fmla="*/ 116 w 1203"/>
              <a:gd name="T101" fmla="*/ 607 h 1163"/>
              <a:gd name="T102" fmla="*/ 157 w 1203"/>
              <a:gd name="T103" fmla="*/ 618 h 1163"/>
              <a:gd name="T104" fmla="*/ 189 w 1203"/>
              <a:gd name="T105" fmla="*/ 629 h 1163"/>
              <a:gd name="T106" fmla="*/ 210 w 1203"/>
              <a:gd name="T107" fmla="*/ 636 h 1163"/>
              <a:gd name="T108" fmla="*/ 250 w 1203"/>
              <a:gd name="T109" fmla="*/ 621 h 1163"/>
              <a:gd name="T110" fmla="*/ 258 w 1203"/>
              <a:gd name="T111" fmla="*/ 249 h 1163"/>
              <a:gd name="T112" fmla="*/ 643 w 1203"/>
              <a:gd name="T113" fmla="*/ 240 h 1163"/>
              <a:gd name="T114" fmla="*/ 658 w 1203"/>
              <a:gd name="T115" fmla="*/ 203 h 1163"/>
              <a:gd name="T116" fmla="*/ 649 w 1203"/>
              <a:gd name="T117" fmla="*/ 176 h 1163"/>
              <a:gd name="T118" fmla="*/ 636 w 1203"/>
              <a:gd name="T119" fmla="*/ 139 h 1163"/>
              <a:gd name="T120" fmla="*/ 627 w 1203"/>
              <a:gd name="T121" fmla="*/ 100 h 1163"/>
              <a:gd name="T122" fmla="*/ 650 w 1203"/>
              <a:gd name="T123" fmla="*/ 37 h 1163"/>
              <a:gd name="T124" fmla="*/ 707 w 1203"/>
              <a:gd name="T125"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3" h="1163">
                <a:moveTo>
                  <a:pt x="730" y="0"/>
                </a:moveTo>
                <a:lnTo>
                  <a:pt x="755" y="2"/>
                </a:lnTo>
                <a:lnTo>
                  <a:pt x="776" y="10"/>
                </a:lnTo>
                <a:lnTo>
                  <a:pt x="795" y="21"/>
                </a:lnTo>
                <a:lnTo>
                  <a:pt x="812" y="37"/>
                </a:lnTo>
                <a:lnTo>
                  <a:pt x="824" y="56"/>
                </a:lnTo>
                <a:lnTo>
                  <a:pt x="831" y="76"/>
                </a:lnTo>
                <a:lnTo>
                  <a:pt x="834" y="100"/>
                </a:lnTo>
                <a:lnTo>
                  <a:pt x="833" y="112"/>
                </a:lnTo>
                <a:lnTo>
                  <a:pt x="830" y="125"/>
                </a:lnTo>
                <a:lnTo>
                  <a:pt x="826" y="139"/>
                </a:lnTo>
                <a:lnTo>
                  <a:pt x="821" y="154"/>
                </a:lnTo>
                <a:lnTo>
                  <a:pt x="817" y="166"/>
                </a:lnTo>
                <a:lnTo>
                  <a:pt x="813" y="176"/>
                </a:lnTo>
                <a:lnTo>
                  <a:pt x="810" y="183"/>
                </a:lnTo>
                <a:lnTo>
                  <a:pt x="809" y="185"/>
                </a:lnTo>
                <a:lnTo>
                  <a:pt x="804" y="203"/>
                </a:lnTo>
                <a:lnTo>
                  <a:pt x="804" y="218"/>
                </a:lnTo>
                <a:lnTo>
                  <a:pt x="809" y="230"/>
                </a:lnTo>
                <a:lnTo>
                  <a:pt x="819" y="240"/>
                </a:lnTo>
                <a:lnTo>
                  <a:pt x="833" y="246"/>
                </a:lnTo>
                <a:lnTo>
                  <a:pt x="851" y="249"/>
                </a:lnTo>
                <a:lnTo>
                  <a:pt x="1203" y="249"/>
                </a:lnTo>
                <a:lnTo>
                  <a:pt x="1203" y="589"/>
                </a:lnTo>
                <a:lnTo>
                  <a:pt x="1201" y="607"/>
                </a:lnTo>
                <a:lnTo>
                  <a:pt x="1195" y="621"/>
                </a:lnTo>
                <a:lnTo>
                  <a:pt x="1184" y="630"/>
                </a:lnTo>
                <a:lnTo>
                  <a:pt x="1171" y="635"/>
                </a:lnTo>
                <a:lnTo>
                  <a:pt x="1155" y="636"/>
                </a:lnTo>
                <a:lnTo>
                  <a:pt x="1137" y="631"/>
                </a:lnTo>
                <a:lnTo>
                  <a:pt x="1135" y="630"/>
                </a:lnTo>
                <a:lnTo>
                  <a:pt x="1128" y="627"/>
                </a:lnTo>
                <a:lnTo>
                  <a:pt x="1117" y="623"/>
                </a:lnTo>
                <a:lnTo>
                  <a:pt x="1104" y="619"/>
                </a:lnTo>
                <a:lnTo>
                  <a:pt x="1090" y="614"/>
                </a:lnTo>
                <a:lnTo>
                  <a:pt x="1075" y="610"/>
                </a:lnTo>
                <a:lnTo>
                  <a:pt x="1061" y="607"/>
                </a:lnTo>
                <a:lnTo>
                  <a:pt x="1049" y="606"/>
                </a:lnTo>
                <a:lnTo>
                  <a:pt x="1025" y="609"/>
                </a:lnTo>
                <a:lnTo>
                  <a:pt x="1003" y="616"/>
                </a:lnTo>
                <a:lnTo>
                  <a:pt x="984" y="628"/>
                </a:lnTo>
                <a:lnTo>
                  <a:pt x="968" y="643"/>
                </a:lnTo>
                <a:lnTo>
                  <a:pt x="956" y="662"/>
                </a:lnTo>
                <a:lnTo>
                  <a:pt x="948" y="683"/>
                </a:lnTo>
                <a:lnTo>
                  <a:pt x="945" y="706"/>
                </a:lnTo>
                <a:lnTo>
                  <a:pt x="948" y="729"/>
                </a:lnTo>
                <a:lnTo>
                  <a:pt x="956" y="750"/>
                </a:lnTo>
                <a:lnTo>
                  <a:pt x="968" y="768"/>
                </a:lnTo>
                <a:lnTo>
                  <a:pt x="984" y="784"/>
                </a:lnTo>
                <a:lnTo>
                  <a:pt x="1003" y="796"/>
                </a:lnTo>
                <a:lnTo>
                  <a:pt x="1025" y="803"/>
                </a:lnTo>
                <a:lnTo>
                  <a:pt x="1049" y="806"/>
                </a:lnTo>
                <a:lnTo>
                  <a:pt x="1061" y="805"/>
                </a:lnTo>
                <a:lnTo>
                  <a:pt x="1074" y="804"/>
                </a:lnTo>
                <a:lnTo>
                  <a:pt x="1088" y="801"/>
                </a:lnTo>
                <a:lnTo>
                  <a:pt x="1102" y="799"/>
                </a:lnTo>
                <a:lnTo>
                  <a:pt x="1113" y="796"/>
                </a:lnTo>
                <a:lnTo>
                  <a:pt x="1123" y="794"/>
                </a:lnTo>
                <a:lnTo>
                  <a:pt x="1129" y="792"/>
                </a:lnTo>
                <a:lnTo>
                  <a:pt x="1131" y="791"/>
                </a:lnTo>
                <a:lnTo>
                  <a:pt x="1147" y="786"/>
                </a:lnTo>
                <a:lnTo>
                  <a:pt x="1162" y="784"/>
                </a:lnTo>
                <a:lnTo>
                  <a:pt x="1175" y="785"/>
                </a:lnTo>
                <a:lnTo>
                  <a:pt x="1186" y="789"/>
                </a:lnTo>
                <a:lnTo>
                  <a:pt x="1196" y="797"/>
                </a:lnTo>
                <a:lnTo>
                  <a:pt x="1201" y="808"/>
                </a:lnTo>
                <a:lnTo>
                  <a:pt x="1203" y="822"/>
                </a:lnTo>
                <a:lnTo>
                  <a:pt x="1203" y="1163"/>
                </a:lnTo>
                <a:lnTo>
                  <a:pt x="1147" y="1163"/>
                </a:lnTo>
                <a:lnTo>
                  <a:pt x="1140" y="1162"/>
                </a:lnTo>
                <a:lnTo>
                  <a:pt x="1131" y="1161"/>
                </a:lnTo>
                <a:lnTo>
                  <a:pt x="851" y="1161"/>
                </a:lnTo>
                <a:lnTo>
                  <a:pt x="833" y="1159"/>
                </a:lnTo>
                <a:lnTo>
                  <a:pt x="819" y="1153"/>
                </a:lnTo>
                <a:lnTo>
                  <a:pt x="809" y="1143"/>
                </a:lnTo>
                <a:lnTo>
                  <a:pt x="804" y="1130"/>
                </a:lnTo>
                <a:lnTo>
                  <a:pt x="804" y="1114"/>
                </a:lnTo>
                <a:lnTo>
                  <a:pt x="809" y="1098"/>
                </a:lnTo>
                <a:lnTo>
                  <a:pt x="810" y="1095"/>
                </a:lnTo>
                <a:lnTo>
                  <a:pt x="813" y="1089"/>
                </a:lnTo>
                <a:lnTo>
                  <a:pt x="817" y="1079"/>
                </a:lnTo>
                <a:lnTo>
                  <a:pt x="821" y="1066"/>
                </a:lnTo>
                <a:lnTo>
                  <a:pt x="826" y="1052"/>
                </a:lnTo>
                <a:lnTo>
                  <a:pt x="830" y="1038"/>
                </a:lnTo>
                <a:lnTo>
                  <a:pt x="833" y="1024"/>
                </a:lnTo>
                <a:lnTo>
                  <a:pt x="834" y="1013"/>
                </a:lnTo>
                <a:lnTo>
                  <a:pt x="831" y="989"/>
                </a:lnTo>
                <a:lnTo>
                  <a:pt x="824" y="968"/>
                </a:lnTo>
                <a:lnTo>
                  <a:pt x="812" y="950"/>
                </a:lnTo>
                <a:lnTo>
                  <a:pt x="795" y="934"/>
                </a:lnTo>
                <a:lnTo>
                  <a:pt x="776" y="922"/>
                </a:lnTo>
                <a:lnTo>
                  <a:pt x="755" y="915"/>
                </a:lnTo>
                <a:lnTo>
                  <a:pt x="730" y="912"/>
                </a:lnTo>
                <a:lnTo>
                  <a:pt x="707" y="915"/>
                </a:lnTo>
                <a:lnTo>
                  <a:pt x="685" y="922"/>
                </a:lnTo>
                <a:lnTo>
                  <a:pt x="666" y="934"/>
                </a:lnTo>
                <a:lnTo>
                  <a:pt x="650" y="950"/>
                </a:lnTo>
                <a:lnTo>
                  <a:pt x="638" y="968"/>
                </a:lnTo>
                <a:lnTo>
                  <a:pt x="630" y="989"/>
                </a:lnTo>
                <a:lnTo>
                  <a:pt x="627" y="1013"/>
                </a:lnTo>
                <a:lnTo>
                  <a:pt x="628" y="1024"/>
                </a:lnTo>
                <a:lnTo>
                  <a:pt x="631" y="1038"/>
                </a:lnTo>
                <a:lnTo>
                  <a:pt x="636" y="1052"/>
                </a:lnTo>
                <a:lnTo>
                  <a:pt x="641" y="1066"/>
                </a:lnTo>
                <a:lnTo>
                  <a:pt x="645" y="1079"/>
                </a:lnTo>
                <a:lnTo>
                  <a:pt x="649" y="1089"/>
                </a:lnTo>
                <a:lnTo>
                  <a:pt x="652" y="1095"/>
                </a:lnTo>
                <a:lnTo>
                  <a:pt x="653" y="1098"/>
                </a:lnTo>
                <a:lnTo>
                  <a:pt x="658" y="1114"/>
                </a:lnTo>
                <a:lnTo>
                  <a:pt x="658" y="1130"/>
                </a:lnTo>
                <a:lnTo>
                  <a:pt x="653" y="1143"/>
                </a:lnTo>
                <a:lnTo>
                  <a:pt x="643" y="1153"/>
                </a:lnTo>
                <a:lnTo>
                  <a:pt x="628" y="1159"/>
                </a:lnTo>
                <a:lnTo>
                  <a:pt x="610" y="1161"/>
                </a:lnTo>
                <a:lnTo>
                  <a:pt x="330" y="1161"/>
                </a:lnTo>
                <a:lnTo>
                  <a:pt x="322" y="1162"/>
                </a:lnTo>
                <a:lnTo>
                  <a:pt x="315" y="1163"/>
                </a:lnTo>
                <a:lnTo>
                  <a:pt x="258" y="1163"/>
                </a:lnTo>
                <a:lnTo>
                  <a:pt x="258" y="822"/>
                </a:lnTo>
                <a:lnTo>
                  <a:pt x="256" y="805"/>
                </a:lnTo>
                <a:lnTo>
                  <a:pt x="250" y="792"/>
                </a:lnTo>
                <a:lnTo>
                  <a:pt x="239" y="782"/>
                </a:lnTo>
                <a:lnTo>
                  <a:pt x="226" y="777"/>
                </a:lnTo>
                <a:lnTo>
                  <a:pt x="210" y="776"/>
                </a:lnTo>
                <a:lnTo>
                  <a:pt x="193" y="781"/>
                </a:lnTo>
                <a:lnTo>
                  <a:pt x="193" y="781"/>
                </a:lnTo>
                <a:lnTo>
                  <a:pt x="189" y="783"/>
                </a:lnTo>
                <a:lnTo>
                  <a:pt x="180" y="786"/>
                </a:lnTo>
                <a:lnTo>
                  <a:pt x="170" y="790"/>
                </a:lnTo>
                <a:lnTo>
                  <a:pt x="157" y="794"/>
                </a:lnTo>
                <a:lnTo>
                  <a:pt x="143" y="799"/>
                </a:lnTo>
                <a:lnTo>
                  <a:pt x="129" y="802"/>
                </a:lnTo>
                <a:lnTo>
                  <a:pt x="116" y="805"/>
                </a:lnTo>
                <a:lnTo>
                  <a:pt x="104" y="806"/>
                </a:lnTo>
                <a:lnTo>
                  <a:pt x="85" y="804"/>
                </a:lnTo>
                <a:lnTo>
                  <a:pt x="66" y="799"/>
                </a:lnTo>
                <a:lnTo>
                  <a:pt x="50" y="792"/>
                </a:lnTo>
                <a:lnTo>
                  <a:pt x="46" y="789"/>
                </a:lnTo>
                <a:lnTo>
                  <a:pt x="31" y="777"/>
                </a:lnTo>
                <a:lnTo>
                  <a:pt x="19" y="762"/>
                </a:lnTo>
                <a:lnTo>
                  <a:pt x="8" y="745"/>
                </a:lnTo>
                <a:lnTo>
                  <a:pt x="2" y="726"/>
                </a:lnTo>
                <a:lnTo>
                  <a:pt x="0" y="706"/>
                </a:lnTo>
                <a:lnTo>
                  <a:pt x="2" y="686"/>
                </a:lnTo>
                <a:lnTo>
                  <a:pt x="8" y="667"/>
                </a:lnTo>
                <a:lnTo>
                  <a:pt x="19" y="650"/>
                </a:lnTo>
                <a:lnTo>
                  <a:pt x="31" y="635"/>
                </a:lnTo>
                <a:lnTo>
                  <a:pt x="46" y="623"/>
                </a:lnTo>
                <a:lnTo>
                  <a:pt x="50" y="621"/>
                </a:lnTo>
                <a:lnTo>
                  <a:pt x="66" y="613"/>
                </a:lnTo>
                <a:lnTo>
                  <a:pt x="85" y="608"/>
                </a:lnTo>
                <a:lnTo>
                  <a:pt x="104" y="606"/>
                </a:lnTo>
                <a:lnTo>
                  <a:pt x="116" y="607"/>
                </a:lnTo>
                <a:lnTo>
                  <a:pt x="129" y="610"/>
                </a:lnTo>
                <a:lnTo>
                  <a:pt x="143" y="614"/>
                </a:lnTo>
                <a:lnTo>
                  <a:pt x="157" y="618"/>
                </a:lnTo>
                <a:lnTo>
                  <a:pt x="170" y="622"/>
                </a:lnTo>
                <a:lnTo>
                  <a:pt x="180" y="626"/>
                </a:lnTo>
                <a:lnTo>
                  <a:pt x="189" y="629"/>
                </a:lnTo>
                <a:lnTo>
                  <a:pt x="193" y="631"/>
                </a:lnTo>
                <a:lnTo>
                  <a:pt x="193" y="631"/>
                </a:lnTo>
                <a:lnTo>
                  <a:pt x="210" y="636"/>
                </a:lnTo>
                <a:lnTo>
                  <a:pt x="226" y="635"/>
                </a:lnTo>
                <a:lnTo>
                  <a:pt x="239" y="630"/>
                </a:lnTo>
                <a:lnTo>
                  <a:pt x="250" y="621"/>
                </a:lnTo>
                <a:lnTo>
                  <a:pt x="256" y="607"/>
                </a:lnTo>
                <a:lnTo>
                  <a:pt x="258" y="589"/>
                </a:lnTo>
                <a:lnTo>
                  <a:pt x="258" y="249"/>
                </a:lnTo>
                <a:lnTo>
                  <a:pt x="610" y="249"/>
                </a:lnTo>
                <a:lnTo>
                  <a:pt x="628" y="246"/>
                </a:lnTo>
                <a:lnTo>
                  <a:pt x="643" y="240"/>
                </a:lnTo>
                <a:lnTo>
                  <a:pt x="653" y="230"/>
                </a:lnTo>
                <a:lnTo>
                  <a:pt x="658" y="218"/>
                </a:lnTo>
                <a:lnTo>
                  <a:pt x="658" y="203"/>
                </a:lnTo>
                <a:lnTo>
                  <a:pt x="653" y="185"/>
                </a:lnTo>
                <a:lnTo>
                  <a:pt x="652" y="183"/>
                </a:lnTo>
                <a:lnTo>
                  <a:pt x="649" y="176"/>
                </a:lnTo>
                <a:lnTo>
                  <a:pt x="645" y="166"/>
                </a:lnTo>
                <a:lnTo>
                  <a:pt x="641" y="154"/>
                </a:lnTo>
                <a:lnTo>
                  <a:pt x="636" y="139"/>
                </a:lnTo>
                <a:lnTo>
                  <a:pt x="631" y="125"/>
                </a:lnTo>
                <a:lnTo>
                  <a:pt x="628" y="112"/>
                </a:lnTo>
                <a:lnTo>
                  <a:pt x="627" y="100"/>
                </a:lnTo>
                <a:lnTo>
                  <a:pt x="630" y="76"/>
                </a:lnTo>
                <a:lnTo>
                  <a:pt x="638" y="56"/>
                </a:lnTo>
                <a:lnTo>
                  <a:pt x="650" y="37"/>
                </a:lnTo>
                <a:lnTo>
                  <a:pt x="666" y="21"/>
                </a:lnTo>
                <a:lnTo>
                  <a:pt x="685" y="10"/>
                </a:lnTo>
                <a:lnTo>
                  <a:pt x="707" y="2"/>
                </a:lnTo>
                <a:lnTo>
                  <a:pt x="730"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21" name="Freeform 9">
            <a:extLst>
              <a:ext uri="{FF2B5EF4-FFF2-40B4-BE49-F238E27FC236}">
                <a16:creationId xmlns:a16="http://schemas.microsoft.com/office/drawing/2014/main" id="{6C16986D-85F6-432A-94CF-79CDFCD0C65A}"/>
              </a:ext>
            </a:extLst>
          </p:cNvPr>
          <p:cNvSpPr>
            <a:spLocks/>
          </p:cNvSpPr>
          <p:nvPr/>
        </p:nvSpPr>
        <p:spPr bwMode="auto">
          <a:xfrm>
            <a:off x="3971335" y="3174745"/>
            <a:ext cx="992738" cy="1042022"/>
          </a:xfrm>
          <a:custGeom>
            <a:avLst/>
            <a:gdLst>
              <a:gd name="T0" fmla="*/ 642 w 1202"/>
              <a:gd name="T1" fmla="*/ 10 h 1162"/>
              <a:gd name="T2" fmla="*/ 652 w 1202"/>
              <a:gd name="T3" fmla="*/ 64 h 1162"/>
              <a:gd name="T4" fmla="*/ 640 w 1202"/>
              <a:gd name="T5" fmla="*/ 96 h 1162"/>
              <a:gd name="T6" fmla="*/ 626 w 1202"/>
              <a:gd name="T7" fmla="*/ 149 h 1162"/>
              <a:gd name="T8" fmla="*/ 665 w 1202"/>
              <a:gd name="T9" fmla="*/ 227 h 1162"/>
              <a:gd name="T10" fmla="*/ 754 w 1202"/>
              <a:gd name="T11" fmla="*/ 247 h 1162"/>
              <a:gd name="T12" fmla="*/ 822 w 1202"/>
              <a:gd name="T13" fmla="*/ 194 h 1162"/>
              <a:gd name="T14" fmla="*/ 829 w 1202"/>
              <a:gd name="T15" fmla="*/ 124 h 1162"/>
              <a:gd name="T16" fmla="*/ 811 w 1202"/>
              <a:gd name="T17" fmla="*/ 73 h 1162"/>
              <a:gd name="T18" fmla="*/ 803 w 1202"/>
              <a:gd name="T19" fmla="*/ 32 h 1162"/>
              <a:gd name="T20" fmla="*/ 849 w 1202"/>
              <a:gd name="T21" fmla="*/ 0 h 1162"/>
              <a:gd name="T22" fmla="*/ 1200 w 1202"/>
              <a:gd name="T23" fmla="*/ 70 h 1162"/>
              <a:gd name="T24" fmla="*/ 1180 w 1202"/>
              <a:gd name="T25" fmla="*/ 381 h 1162"/>
              <a:gd name="T26" fmla="*/ 1131 w 1202"/>
              <a:gd name="T27" fmla="*/ 381 h 1162"/>
              <a:gd name="T28" fmla="*/ 1087 w 1202"/>
              <a:gd name="T29" fmla="*/ 365 h 1162"/>
              <a:gd name="T30" fmla="*/ 1022 w 1202"/>
              <a:gd name="T31" fmla="*/ 360 h 1162"/>
              <a:gd name="T32" fmla="*/ 953 w 1202"/>
              <a:gd name="T33" fmla="*/ 413 h 1162"/>
              <a:gd name="T34" fmla="*/ 953 w 1202"/>
              <a:gd name="T35" fmla="*/ 501 h 1162"/>
              <a:gd name="T36" fmla="*/ 1022 w 1202"/>
              <a:gd name="T37" fmla="*/ 554 h 1162"/>
              <a:gd name="T38" fmla="*/ 1087 w 1202"/>
              <a:gd name="T39" fmla="*/ 549 h 1162"/>
              <a:gd name="T40" fmla="*/ 1131 w 1202"/>
              <a:gd name="T41" fmla="*/ 533 h 1162"/>
              <a:gd name="T42" fmla="*/ 1175 w 1202"/>
              <a:gd name="T43" fmla="*/ 530 h 1162"/>
              <a:gd name="T44" fmla="*/ 1200 w 1202"/>
              <a:gd name="T45" fmla="*/ 574 h 1162"/>
              <a:gd name="T46" fmla="*/ 1202 w 1202"/>
              <a:gd name="T47" fmla="*/ 913 h 1162"/>
              <a:gd name="T48" fmla="*/ 832 w 1202"/>
              <a:gd name="T49" fmla="*/ 915 h 1162"/>
              <a:gd name="T50" fmla="*/ 801 w 1202"/>
              <a:gd name="T51" fmla="*/ 959 h 1162"/>
              <a:gd name="T52" fmla="*/ 812 w 1202"/>
              <a:gd name="T53" fmla="*/ 989 h 1162"/>
              <a:gd name="T54" fmla="*/ 829 w 1202"/>
              <a:gd name="T55" fmla="*/ 1038 h 1162"/>
              <a:gd name="T56" fmla="*/ 826 w 1202"/>
              <a:gd name="T57" fmla="*/ 1099 h 1162"/>
              <a:gd name="T58" fmla="*/ 787 w 1202"/>
              <a:gd name="T59" fmla="*/ 1146 h 1162"/>
              <a:gd name="T60" fmla="*/ 709 w 1202"/>
              <a:gd name="T61" fmla="*/ 1160 h 1162"/>
              <a:gd name="T62" fmla="*/ 644 w 1202"/>
              <a:gd name="T63" fmla="*/ 1118 h 1162"/>
              <a:gd name="T64" fmla="*/ 626 w 1202"/>
              <a:gd name="T65" fmla="*/ 1062 h 1162"/>
              <a:gd name="T66" fmla="*/ 639 w 1202"/>
              <a:gd name="T67" fmla="*/ 1011 h 1162"/>
              <a:gd name="T68" fmla="*/ 652 w 1202"/>
              <a:gd name="T69" fmla="*/ 977 h 1162"/>
              <a:gd name="T70" fmla="*/ 652 w 1202"/>
              <a:gd name="T71" fmla="*/ 932 h 1162"/>
              <a:gd name="T72" fmla="*/ 329 w 1202"/>
              <a:gd name="T73" fmla="*/ 913 h 1162"/>
              <a:gd name="T74" fmla="*/ 256 w 1202"/>
              <a:gd name="T75" fmla="*/ 558 h 1162"/>
              <a:gd name="T76" fmla="*/ 221 w 1202"/>
              <a:gd name="T77" fmla="*/ 527 h 1162"/>
              <a:gd name="T78" fmla="*/ 182 w 1202"/>
              <a:gd name="T79" fmla="*/ 536 h 1162"/>
              <a:gd name="T80" fmla="*/ 131 w 1202"/>
              <a:gd name="T81" fmla="*/ 553 h 1162"/>
              <a:gd name="T82" fmla="*/ 58 w 1202"/>
              <a:gd name="T83" fmla="*/ 547 h 1162"/>
              <a:gd name="T84" fmla="*/ 3 w 1202"/>
              <a:gd name="T85" fmla="*/ 480 h 1162"/>
              <a:gd name="T86" fmla="*/ 24 w 1202"/>
              <a:gd name="T87" fmla="*/ 394 h 1162"/>
              <a:gd name="T88" fmla="*/ 104 w 1202"/>
              <a:gd name="T89" fmla="*/ 357 h 1162"/>
              <a:gd name="T90" fmla="*/ 159 w 1202"/>
              <a:gd name="T91" fmla="*/ 370 h 1162"/>
              <a:gd name="T92" fmla="*/ 193 w 1202"/>
              <a:gd name="T93" fmla="*/ 382 h 1162"/>
              <a:gd name="T94" fmla="*/ 249 w 1202"/>
              <a:gd name="T95" fmla="*/ 372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1162">
                <a:moveTo>
                  <a:pt x="258" y="0"/>
                </a:moveTo>
                <a:lnTo>
                  <a:pt x="610" y="0"/>
                </a:lnTo>
                <a:lnTo>
                  <a:pt x="627" y="3"/>
                </a:lnTo>
                <a:lnTo>
                  <a:pt x="642" y="10"/>
                </a:lnTo>
                <a:lnTo>
                  <a:pt x="652" y="19"/>
                </a:lnTo>
                <a:lnTo>
                  <a:pt x="657" y="32"/>
                </a:lnTo>
                <a:lnTo>
                  <a:pt x="657" y="47"/>
                </a:lnTo>
                <a:lnTo>
                  <a:pt x="652" y="64"/>
                </a:lnTo>
                <a:lnTo>
                  <a:pt x="651" y="67"/>
                </a:lnTo>
                <a:lnTo>
                  <a:pt x="648" y="73"/>
                </a:lnTo>
                <a:lnTo>
                  <a:pt x="644" y="83"/>
                </a:lnTo>
                <a:lnTo>
                  <a:pt x="640" y="96"/>
                </a:lnTo>
                <a:lnTo>
                  <a:pt x="635" y="109"/>
                </a:lnTo>
                <a:lnTo>
                  <a:pt x="630" y="124"/>
                </a:lnTo>
                <a:lnTo>
                  <a:pt x="627" y="138"/>
                </a:lnTo>
                <a:lnTo>
                  <a:pt x="626" y="149"/>
                </a:lnTo>
                <a:lnTo>
                  <a:pt x="629" y="173"/>
                </a:lnTo>
                <a:lnTo>
                  <a:pt x="637" y="194"/>
                </a:lnTo>
                <a:lnTo>
                  <a:pt x="649" y="212"/>
                </a:lnTo>
                <a:lnTo>
                  <a:pt x="665" y="227"/>
                </a:lnTo>
                <a:lnTo>
                  <a:pt x="684" y="240"/>
                </a:lnTo>
                <a:lnTo>
                  <a:pt x="706" y="247"/>
                </a:lnTo>
                <a:lnTo>
                  <a:pt x="729" y="250"/>
                </a:lnTo>
                <a:lnTo>
                  <a:pt x="754" y="247"/>
                </a:lnTo>
                <a:lnTo>
                  <a:pt x="775" y="240"/>
                </a:lnTo>
                <a:lnTo>
                  <a:pt x="794" y="227"/>
                </a:lnTo>
                <a:lnTo>
                  <a:pt x="811" y="212"/>
                </a:lnTo>
                <a:lnTo>
                  <a:pt x="822" y="194"/>
                </a:lnTo>
                <a:lnTo>
                  <a:pt x="830" y="173"/>
                </a:lnTo>
                <a:lnTo>
                  <a:pt x="833" y="149"/>
                </a:lnTo>
                <a:lnTo>
                  <a:pt x="832" y="138"/>
                </a:lnTo>
                <a:lnTo>
                  <a:pt x="829" y="124"/>
                </a:lnTo>
                <a:lnTo>
                  <a:pt x="825" y="109"/>
                </a:lnTo>
                <a:lnTo>
                  <a:pt x="820" y="96"/>
                </a:lnTo>
                <a:lnTo>
                  <a:pt x="815" y="83"/>
                </a:lnTo>
                <a:lnTo>
                  <a:pt x="811" y="73"/>
                </a:lnTo>
                <a:lnTo>
                  <a:pt x="808" y="67"/>
                </a:lnTo>
                <a:lnTo>
                  <a:pt x="807" y="64"/>
                </a:lnTo>
                <a:lnTo>
                  <a:pt x="801" y="47"/>
                </a:lnTo>
                <a:lnTo>
                  <a:pt x="803" y="32"/>
                </a:lnTo>
                <a:lnTo>
                  <a:pt x="808" y="19"/>
                </a:lnTo>
                <a:lnTo>
                  <a:pt x="818" y="10"/>
                </a:lnTo>
                <a:lnTo>
                  <a:pt x="832" y="3"/>
                </a:lnTo>
                <a:lnTo>
                  <a:pt x="849" y="0"/>
                </a:lnTo>
                <a:lnTo>
                  <a:pt x="1202" y="0"/>
                </a:lnTo>
                <a:lnTo>
                  <a:pt x="1202" y="55"/>
                </a:lnTo>
                <a:lnTo>
                  <a:pt x="1201" y="63"/>
                </a:lnTo>
                <a:lnTo>
                  <a:pt x="1200" y="70"/>
                </a:lnTo>
                <a:lnTo>
                  <a:pt x="1200" y="340"/>
                </a:lnTo>
                <a:lnTo>
                  <a:pt x="1198" y="358"/>
                </a:lnTo>
                <a:lnTo>
                  <a:pt x="1190" y="372"/>
                </a:lnTo>
                <a:lnTo>
                  <a:pt x="1180" y="381"/>
                </a:lnTo>
                <a:lnTo>
                  <a:pt x="1167" y="386"/>
                </a:lnTo>
                <a:lnTo>
                  <a:pt x="1152" y="387"/>
                </a:lnTo>
                <a:lnTo>
                  <a:pt x="1134" y="382"/>
                </a:lnTo>
                <a:lnTo>
                  <a:pt x="1131" y="381"/>
                </a:lnTo>
                <a:lnTo>
                  <a:pt x="1124" y="378"/>
                </a:lnTo>
                <a:lnTo>
                  <a:pt x="1114" y="374"/>
                </a:lnTo>
                <a:lnTo>
                  <a:pt x="1101" y="370"/>
                </a:lnTo>
                <a:lnTo>
                  <a:pt x="1087" y="365"/>
                </a:lnTo>
                <a:lnTo>
                  <a:pt x="1072" y="361"/>
                </a:lnTo>
                <a:lnTo>
                  <a:pt x="1058" y="358"/>
                </a:lnTo>
                <a:lnTo>
                  <a:pt x="1046" y="357"/>
                </a:lnTo>
                <a:lnTo>
                  <a:pt x="1022" y="360"/>
                </a:lnTo>
                <a:lnTo>
                  <a:pt x="1000" y="367"/>
                </a:lnTo>
                <a:lnTo>
                  <a:pt x="981" y="379"/>
                </a:lnTo>
                <a:lnTo>
                  <a:pt x="965" y="394"/>
                </a:lnTo>
                <a:lnTo>
                  <a:pt x="953" y="413"/>
                </a:lnTo>
                <a:lnTo>
                  <a:pt x="945" y="434"/>
                </a:lnTo>
                <a:lnTo>
                  <a:pt x="942" y="456"/>
                </a:lnTo>
                <a:lnTo>
                  <a:pt x="945" y="480"/>
                </a:lnTo>
                <a:lnTo>
                  <a:pt x="953" y="501"/>
                </a:lnTo>
                <a:lnTo>
                  <a:pt x="965" y="520"/>
                </a:lnTo>
                <a:lnTo>
                  <a:pt x="981" y="535"/>
                </a:lnTo>
                <a:lnTo>
                  <a:pt x="1000" y="547"/>
                </a:lnTo>
                <a:lnTo>
                  <a:pt x="1022" y="554"/>
                </a:lnTo>
                <a:lnTo>
                  <a:pt x="1046" y="557"/>
                </a:lnTo>
                <a:lnTo>
                  <a:pt x="1058" y="556"/>
                </a:lnTo>
                <a:lnTo>
                  <a:pt x="1072" y="553"/>
                </a:lnTo>
                <a:lnTo>
                  <a:pt x="1087" y="549"/>
                </a:lnTo>
                <a:lnTo>
                  <a:pt x="1101" y="544"/>
                </a:lnTo>
                <a:lnTo>
                  <a:pt x="1114" y="540"/>
                </a:lnTo>
                <a:lnTo>
                  <a:pt x="1124" y="536"/>
                </a:lnTo>
                <a:lnTo>
                  <a:pt x="1131" y="533"/>
                </a:lnTo>
                <a:lnTo>
                  <a:pt x="1134" y="532"/>
                </a:lnTo>
                <a:lnTo>
                  <a:pt x="1150" y="528"/>
                </a:lnTo>
                <a:lnTo>
                  <a:pt x="1163" y="527"/>
                </a:lnTo>
                <a:lnTo>
                  <a:pt x="1175" y="530"/>
                </a:lnTo>
                <a:lnTo>
                  <a:pt x="1185" y="536"/>
                </a:lnTo>
                <a:lnTo>
                  <a:pt x="1193" y="546"/>
                </a:lnTo>
                <a:lnTo>
                  <a:pt x="1198" y="558"/>
                </a:lnTo>
                <a:lnTo>
                  <a:pt x="1200" y="574"/>
                </a:lnTo>
                <a:lnTo>
                  <a:pt x="1200" y="844"/>
                </a:lnTo>
                <a:lnTo>
                  <a:pt x="1201" y="851"/>
                </a:lnTo>
                <a:lnTo>
                  <a:pt x="1202" y="859"/>
                </a:lnTo>
                <a:lnTo>
                  <a:pt x="1202" y="913"/>
                </a:lnTo>
                <a:lnTo>
                  <a:pt x="1130" y="913"/>
                </a:lnTo>
                <a:lnTo>
                  <a:pt x="1129" y="913"/>
                </a:lnTo>
                <a:lnTo>
                  <a:pt x="849" y="913"/>
                </a:lnTo>
                <a:lnTo>
                  <a:pt x="832" y="915"/>
                </a:lnTo>
                <a:lnTo>
                  <a:pt x="818" y="922"/>
                </a:lnTo>
                <a:lnTo>
                  <a:pt x="808" y="932"/>
                </a:lnTo>
                <a:lnTo>
                  <a:pt x="803" y="945"/>
                </a:lnTo>
                <a:lnTo>
                  <a:pt x="801" y="959"/>
                </a:lnTo>
                <a:lnTo>
                  <a:pt x="807" y="977"/>
                </a:lnTo>
                <a:lnTo>
                  <a:pt x="808" y="977"/>
                </a:lnTo>
                <a:lnTo>
                  <a:pt x="809" y="981"/>
                </a:lnTo>
                <a:lnTo>
                  <a:pt x="812" y="989"/>
                </a:lnTo>
                <a:lnTo>
                  <a:pt x="816" y="999"/>
                </a:lnTo>
                <a:lnTo>
                  <a:pt x="821" y="1011"/>
                </a:lnTo>
                <a:lnTo>
                  <a:pt x="825" y="1024"/>
                </a:lnTo>
                <a:lnTo>
                  <a:pt x="829" y="1038"/>
                </a:lnTo>
                <a:lnTo>
                  <a:pt x="832" y="1051"/>
                </a:lnTo>
                <a:lnTo>
                  <a:pt x="833" y="1062"/>
                </a:lnTo>
                <a:lnTo>
                  <a:pt x="831" y="1080"/>
                </a:lnTo>
                <a:lnTo>
                  <a:pt x="826" y="1099"/>
                </a:lnTo>
                <a:lnTo>
                  <a:pt x="818" y="1114"/>
                </a:lnTo>
                <a:lnTo>
                  <a:pt x="815" y="1118"/>
                </a:lnTo>
                <a:lnTo>
                  <a:pt x="803" y="1133"/>
                </a:lnTo>
                <a:lnTo>
                  <a:pt x="787" y="1146"/>
                </a:lnTo>
                <a:lnTo>
                  <a:pt x="770" y="1155"/>
                </a:lnTo>
                <a:lnTo>
                  <a:pt x="751" y="1160"/>
                </a:lnTo>
                <a:lnTo>
                  <a:pt x="729" y="1162"/>
                </a:lnTo>
                <a:lnTo>
                  <a:pt x="709" y="1160"/>
                </a:lnTo>
                <a:lnTo>
                  <a:pt x="689" y="1155"/>
                </a:lnTo>
                <a:lnTo>
                  <a:pt x="672" y="1146"/>
                </a:lnTo>
                <a:lnTo>
                  <a:pt x="657" y="1133"/>
                </a:lnTo>
                <a:lnTo>
                  <a:pt x="644" y="1118"/>
                </a:lnTo>
                <a:lnTo>
                  <a:pt x="642" y="1114"/>
                </a:lnTo>
                <a:lnTo>
                  <a:pt x="633" y="1099"/>
                </a:lnTo>
                <a:lnTo>
                  <a:pt x="628" y="1080"/>
                </a:lnTo>
                <a:lnTo>
                  <a:pt x="626" y="1062"/>
                </a:lnTo>
                <a:lnTo>
                  <a:pt x="627" y="1051"/>
                </a:lnTo>
                <a:lnTo>
                  <a:pt x="630" y="1038"/>
                </a:lnTo>
                <a:lnTo>
                  <a:pt x="635" y="1024"/>
                </a:lnTo>
                <a:lnTo>
                  <a:pt x="639" y="1011"/>
                </a:lnTo>
                <a:lnTo>
                  <a:pt x="643" y="999"/>
                </a:lnTo>
                <a:lnTo>
                  <a:pt x="648" y="989"/>
                </a:lnTo>
                <a:lnTo>
                  <a:pt x="651" y="981"/>
                </a:lnTo>
                <a:lnTo>
                  <a:pt x="652" y="977"/>
                </a:lnTo>
                <a:lnTo>
                  <a:pt x="653" y="977"/>
                </a:lnTo>
                <a:lnTo>
                  <a:pt x="657" y="959"/>
                </a:lnTo>
                <a:lnTo>
                  <a:pt x="657" y="945"/>
                </a:lnTo>
                <a:lnTo>
                  <a:pt x="652" y="932"/>
                </a:lnTo>
                <a:lnTo>
                  <a:pt x="642" y="922"/>
                </a:lnTo>
                <a:lnTo>
                  <a:pt x="627" y="915"/>
                </a:lnTo>
                <a:lnTo>
                  <a:pt x="609" y="913"/>
                </a:lnTo>
                <a:lnTo>
                  <a:pt x="329" y="913"/>
                </a:lnTo>
                <a:lnTo>
                  <a:pt x="329" y="913"/>
                </a:lnTo>
                <a:lnTo>
                  <a:pt x="258" y="913"/>
                </a:lnTo>
                <a:lnTo>
                  <a:pt x="258" y="574"/>
                </a:lnTo>
                <a:lnTo>
                  <a:pt x="256" y="558"/>
                </a:lnTo>
                <a:lnTo>
                  <a:pt x="252" y="546"/>
                </a:lnTo>
                <a:lnTo>
                  <a:pt x="244" y="536"/>
                </a:lnTo>
                <a:lnTo>
                  <a:pt x="233" y="530"/>
                </a:lnTo>
                <a:lnTo>
                  <a:pt x="221" y="527"/>
                </a:lnTo>
                <a:lnTo>
                  <a:pt x="208" y="528"/>
                </a:lnTo>
                <a:lnTo>
                  <a:pt x="193" y="532"/>
                </a:lnTo>
                <a:lnTo>
                  <a:pt x="190" y="533"/>
                </a:lnTo>
                <a:lnTo>
                  <a:pt x="182" y="536"/>
                </a:lnTo>
                <a:lnTo>
                  <a:pt x="172" y="540"/>
                </a:lnTo>
                <a:lnTo>
                  <a:pt x="159" y="544"/>
                </a:lnTo>
                <a:lnTo>
                  <a:pt x="145" y="549"/>
                </a:lnTo>
                <a:lnTo>
                  <a:pt x="131" y="553"/>
                </a:lnTo>
                <a:lnTo>
                  <a:pt x="116" y="556"/>
                </a:lnTo>
                <a:lnTo>
                  <a:pt x="104" y="557"/>
                </a:lnTo>
                <a:lnTo>
                  <a:pt x="81" y="554"/>
                </a:lnTo>
                <a:lnTo>
                  <a:pt x="58" y="547"/>
                </a:lnTo>
                <a:lnTo>
                  <a:pt x="39" y="535"/>
                </a:lnTo>
                <a:lnTo>
                  <a:pt x="24" y="520"/>
                </a:lnTo>
                <a:lnTo>
                  <a:pt x="11" y="501"/>
                </a:lnTo>
                <a:lnTo>
                  <a:pt x="3" y="480"/>
                </a:lnTo>
                <a:lnTo>
                  <a:pt x="0" y="456"/>
                </a:lnTo>
                <a:lnTo>
                  <a:pt x="3" y="434"/>
                </a:lnTo>
                <a:lnTo>
                  <a:pt x="11" y="413"/>
                </a:lnTo>
                <a:lnTo>
                  <a:pt x="24" y="394"/>
                </a:lnTo>
                <a:lnTo>
                  <a:pt x="39" y="379"/>
                </a:lnTo>
                <a:lnTo>
                  <a:pt x="58" y="367"/>
                </a:lnTo>
                <a:lnTo>
                  <a:pt x="81" y="360"/>
                </a:lnTo>
                <a:lnTo>
                  <a:pt x="104" y="357"/>
                </a:lnTo>
                <a:lnTo>
                  <a:pt x="116" y="358"/>
                </a:lnTo>
                <a:lnTo>
                  <a:pt x="131" y="361"/>
                </a:lnTo>
                <a:lnTo>
                  <a:pt x="145" y="365"/>
                </a:lnTo>
                <a:lnTo>
                  <a:pt x="159" y="370"/>
                </a:lnTo>
                <a:lnTo>
                  <a:pt x="172" y="374"/>
                </a:lnTo>
                <a:lnTo>
                  <a:pt x="182" y="378"/>
                </a:lnTo>
                <a:lnTo>
                  <a:pt x="190" y="381"/>
                </a:lnTo>
                <a:lnTo>
                  <a:pt x="193" y="382"/>
                </a:lnTo>
                <a:lnTo>
                  <a:pt x="210" y="387"/>
                </a:lnTo>
                <a:lnTo>
                  <a:pt x="225" y="386"/>
                </a:lnTo>
                <a:lnTo>
                  <a:pt x="238" y="381"/>
                </a:lnTo>
                <a:lnTo>
                  <a:pt x="249" y="372"/>
                </a:lnTo>
                <a:lnTo>
                  <a:pt x="256" y="358"/>
                </a:lnTo>
                <a:lnTo>
                  <a:pt x="258" y="340"/>
                </a:lnTo>
                <a:lnTo>
                  <a:pt x="258"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23" name="Freeform 11">
            <a:extLst>
              <a:ext uri="{FF2B5EF4-FFF2-40B4-BE49-F238E27FC236}">
                <a16:creationId xmlns:a16="http://schemas.microsoft.com/office/drawing/2014/main" id="{E9A5052B-7406-4B6F-8C0C-75AC711D04D5}"/>
              </a:ext>
            </a:extLst>
          </p:cNvPr>
          <p:cNvSpPr>
            <a:spLocks/>
          </p:cNvSpPr>
          <p:nvPr/>
        </p:nvSpPr>
        <p:spPr bwMode="auto">
          <a:xfrm>
            <a:off x="3399333" y="2953948"/>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24" name="TextBox 23">
            <a:extLst>
              <a:ext uri="{FF2B5EF4-FFF2-40B4-BE49-F238E27FC236}">
                <a16:creationId xmlns:a16="http://schemas.microsoft.com/office/drawing/2014/main" id="{FDA1DDC7-4F57-42CA-BD99-88984DA9FBEF}"/>
              </a:ext>
            </a:extLst>
          </p:cNvPr>
          <p:cNvSpPr txBox="1"/>
          <p:nvPr/>
        </p:nvSpPr>
        <p:spPr>
          <a:xfrm>
            <a:off x="4191310" y="2538167"/>
            <a:ext cx="761381" cy="553998"/>
          </a:xfrm>
          <a:prstGeom prst="rect">
            <a:avLst/>
          </a:prstGeom>
          <a:noFill/>
        </p:spPr>
        <p:txBody>
          <a:bodyPr wrap="square" rtlCol="0">
            <a:spAutoFit/>
          </a:bodyPr>
          <a:lstStyle/>
          <a:p>
            <a:pPr algn="ctr" defTabSz="914240"/>
            <a:r>
              <a:rPr lang="en-US" sz="1500" b="1" dirty="0">
                <a:cs typeface="Arial" panose="020B0604020202020204" pitchFamily="34" charset="0"/>
              </a:rPr>
              <a:t>SAP</a:t>
            </a:r>
          </a:p>
          <a:p>
            <a:pPr algn="ctr" defTabSz="914240"/>
            <a:r>
              <a:rPr lang="en-US" sz="1500" b="1" dirty="0">
                <a:cs typeface="Arial" panose="020B0604020202020204" pitchFamily="34" charset="0"/>
              </a:rPr>
              <a:t>CORE</a:t>
            </a:r>
          </a:p>
        </p:txBody>
      </p:sp>
      <p:sp>
        <p:nvSpPr>
          <p:cNvPr id="47" name="TextBox 46">
            <a:extLst>
              <a:ext uri="{FF2B5EF4-FFF2-40B4-BE49-F238E27FC236}">
                <a16:creationId xmlns:a16="http://schemas.microsoft.com/office/drawing/2014/main" id="{E0712C3E-A8D2-43E6-A40B-160B5480741E}"/>
              </a:ext>
            </a:extLst>
          </p:cNvPr>
          <p:cNvSpPr txBox="1"/>
          <p:nvPr/>
        </p:nvSpPr>
        <p:spPr>
          <a:xfrm>
            <a:off x="3400709" y="1660388"/>
            <a:ext cx="761381" cy="323165"/>
          </a:xfrm>
          <a:prstGeom prst="rect">
            <a:avLst/>
          </a:prstGeom>
          <a:noFill/>
        </p:spPr>
        <p:txBody>
          <a:bodyPr wrap="square" rtlCol="0">
            <a:spAutoFit/>
          </a:bodyPr>
          <a:lstStyle/>
          <a:p>
            <a:pPr algn="ctr" defTabSz="914240"/>
            <a:r>
              <a:rPr lang="en-US" sz="1500" b="1" dirty="0">
                <a:cs typeface="Arial" panose="020B0604020202020204" pitchFamily="34" charset="0"/>
              </a:rPr>
              <a:t>BCM</a:t>
            </a:r>
          </a:p>
        </p:txBody>
      </p:sp>
      <p:sp>
        <p:nvSpPr>
          <p:cNvPr id="48" name="TextBox 47">
            <a:extLst>
              <a:ext uri="{FF2B5EF4-FFF2-40B4-BE49-F238E27FC236}">
                <a16:creationId xmlns:a16="http://schemas.microsoft.com/office/drawing/2014/main" id="{E24C91ED-1501-4862-9793-7652AC742689}"/>
              </a:ext>
            </a:extLst>
          </p:cNvPr>
          <p:cNvSpPr txBox="1"/>
          <p:nvPr/>
        </p:nvSpPr>
        <p:spPr>
          <a:xfrm>
            <a:off x="3320081" y="2457515"/>
            <a:ext cx="761381" cy="507831"/>
          </a:xfrm>
          <a:prstGeom prst="rect">
            <a:avLst/>
          </a:prstGeom>
          <a:noFill/>
        </p:spPr>
        <p:txBody>
          <a:bodyPr wrap="square" rtlCol="0">
            <a:spAutoFit/>
          </a:bodyPr>
          <a:lstStyle/>
          <a:p>
            <a:pPr algn="ctr" defTabSz="914240"/>
            <a:r>
              <a:rPr lang="en-US" sz="900" b="1" dirty="0">
                <a:cs typeface="Arial" panose="020B0604020202020204" pitchFamily="34" charset="0"/>
              </a:rPr>
              <a:t>Cash &amp; Liquidity Forecast</a:t>
            </a:r>
          </a:p>
        </p:txBody>
      </p:sp>
      <p:sp>
        <p:nvSpPr>
          <p:cNvPr id="49" name="TextBox 48">
            <a:extLst>
              <a:ext uri="{FF2B5EF4-FFF2-40B4-BE49-F238E27FC236}">
                <a16:creationId xmlns:a16="http://schemas.microsoft.com/office/drawing/2014/main" id="{21CF7327-1348-4BD5-95C8-22B2370D65BB}"/>
              </a:ext>
            </a:extLst>
          </p:cNvPr>
          <p:cNvSpPr txBox="1"/>
          <p:nvPr/>
        </p:nvSpPr>
        <p:spPr>
          <a:xfrm>
            <a:off x="4186495" y="3345335"/>
            <a:ext cx="761381" cy="369332"/>
          </a:xfrm>
          <a:prstGeom prst="rect">
            <a:avLst/>
          </a:prstGeom>
          <a:noFill/>
        </p:spPr>
        <p:txBody>
          <a:bodyPr wrap="square" rtlCol="0">
            <a:spAutoFit/>
          </a:bodyPr>
          <a:lstStyle/>
          <a:p>
            <a:pPr algn="ctr" defTabSz="914240"/>
            <a:r>
              <a:rPr lang="en-US" sz="900" b="1" dirty="0">
                <a:cs typeface="Arial" panose="020B0604020202020204" pitchFamily="34" charset="0"/>
              </a:rPr>
              <a:t>Inhouse Cash</a:t>
            </a:r>
          </a:p>
        </p:txBody>
      </p:sp>
      <p:sp>
        <p:nvSpPr>
          <p:cNvPr id="50" name="Freeform 11">
            <a:extLst>
              <a:ext uri="{FF2B5EF4-FFF2-40B4-BE49-F238E27FC236}">
                <a16:creationId xmlns:a16="http://schemas.microsoft.com/office/drawing/2014/main" id="{9C78018C-B5EB-4844-9F70-C2B1FA2A07C8}"/>
              </a:ext>
            </a:extLst>
          </p:cNvPr>
          <p:cNvSpPr>
            <a:spLocks/>
          </p:cNvSpPr>
          <p:nvPr/>
        </p:nvSpPr>
        <p:spPr bwMode="auto">
          <a:xfrm>
            <a:off x="3399333" y="1324017"/>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1" name="TextBox 50">
            <a:extLst>
              <a:ext uri="{FF2B5EF4-FFF2-40B4-BE49-F238E27FC236}">
                <a16:creationId xmlns:a16="http://schemas.microsoft.com/office/drawing/2014/main" id="{C92BAA35-9618-4B62-8020-9D9F9F994992}"/>
              </a:ext>
            </a:extLst>
          </p:cNvPr>
          <p:cNvSpPr txBox="1"/>
          <p:nvPr/>
        </p:nvSpPr>
        <p:spPr>
          <a:xfrm>
            <a:off x="3465744" y="1546516"/>
            <a:ext cx="761381" cy="369332"/>
          </a:xfrm>
          <a:prstGeom prst="rect">
            <a:avLst/>
          </a:prstGeom>
          <a:noFill/>
        </p:spPr>
        <p:txBody>
          <a:bodyPr wrap="square" rtlCol="0">
            <a:spAutoFit/>
          </a:bodyPr>
          <a:lstStyle/>
          <a:p>
            <a:pPr algn="ctr" defTabSz="914240"/>
            <a:r>
              <a:rPr lang="en-US" sz="900" b="1" dirty="0">
                <a:cs typeface="Arial" panose="020B0604020202020204" pitchFamily="34" charset="0"/>
              </a:rPr>
              <a:t>Bank Comms</a:t>
            </a:r>
          </a:p>
        </p:txBody>
      </p:sp>
      <p:sp>
        <p:nvSpPr>
          <p:cNvPr id="52" name="TextBox 51">
            <a:extLst>
              <a:ext uri="{FF2B5EF4-FFF2-40B4-BE49-F238E27FC236}">
                <a16:creationId xmlns:a16="http://schemas.microsoft.com/office/drawing/2014/main" id="{7B1E7462-EC8F-44DE-94DE-567DBB5E9FC1}"/>
              </a:ext>
            </a:extLst>
          </p:cNvPr>
          <p:cNvSpPr txBox="1"/>
          <p:nvPr/>
        </p:nvSpPr>
        <p:spPr>
          <a:xfrm>
            <a:off x="3333812" y="3145741"/>
            <a:ext cx="885583" cy="369332"/>
          </a:xfrm>
          <a:prstGeom prst="rect">
            <a:avLst/>
          </a:prstGeom>
          <a:noFill/>
        </p:spPr>
        <p:txBody>
          <a:bodyPr wrap="square" rtlCol="0">
            <a:spAutoFit/>
          </a:bodyPr>
          <a:lstStyle/>
          <a:p>
            <a:pPr algn="ctr" defTabSz="914240"/>
            <a:r>
              <a:rPr lang="en-US" sz="900" b="1" dirty="0">
                <a:cs typeface="Arial" panose="020B0604020202020204" pitchFamily="34" charset="0"/>
              </a:rPr>
              <a:t>Cash Accounting</a:t>
            </a:r>
          </a:p>
        </p:txBody>
      </p:sp>
      <p:sp>
        <p:nvSpPr>
          <p:cNvPr id="53" name="Freeform 11">
            <a:extLst>
              <a:ext uri="{FF2B5EF4-FFF2-40B4-BE49-F238E27FC236}">
                <a16:creationId xmlns:a16="http://schemas.microsoft.com/office/drawing/2014/main" id="{67A2B660-20E2-4C07-AF69-7F45AFEA0247}"/>
              </a:ext>
            </a:extLst>
          </p:cNvPr>
          <p:cNvSpPr>
            <a:spLocks/>
          </p:cNvSpPr>
          <p:nvPr/>
        </p:nvSpPr>
        <p:spPr bwMode="auto">
          <a:xfrm>
            <a:off x="4178523" y="1325955"/>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4" name="TextBox 53">
            <a:extLst>
              <a:ext uri="{FF2B5EF4-FFF2-40B4-BE49-F238E27FC236}">
                <a16:creationId xmlns:a16="http://schemas.microsoft.com/office/drawing/2014/main" id="{21E4D1C6-F1F0-48F0-9570-0B744B77B67D}"/>
              </a:ext>
            </a:extLst>
          </p:cNvPr>
          <p:cNvSpPr txBox="1"/>
          <p:nvPr/>
        </p:nvSpPr>
        <p:spPr>
          <a:xfrm>
            <a:off x="4273885" y="1518145"/>
            <a:ext cx="761381" cy="507831"/>
          </a:xfrm>
          <a:prstGeom prst="rect">
            <a:avLst/>
          </a:prstGeom>
          <a:noFill/>
        </p:spPr>
        <p:txBody>
          <a:bodyPr wrap="square" rtlCol="0">
            <a:spAutoFit/>
          </a:bodyPr>
          <a:lstStyle/>
          <a:p>
            <a:pPr algn="ctr" defTabSz="914240"/>
            <a:r>
              <a:rPr lang="en-US" sz="900" b="1" dirty="0">
                <a:cs typeface="Arial" panose="020B0604020202020204" pitchFamily="34" charset="0"/>
              </a:rPr>
              <a:t>Treasury &amp; Risk </a:t>
            </a:r>
            <a:r>
              <a:rPr lang="en-US" sz="900" b="1" dirty="0" err="1">
                <a:cs typeface="Arial" panose="020B0604020202020204" pitchFamily="34" charset="0"/>
              </a:rPr>
              <a:t>Mgmt</a:t>
            </a:r>
            <a:endParaRPr lang="en-US" sz="900" b="1" dirty="0">
              <a:cs typeface="Arial" panose="020B0604020202020204" pitchFamily="34" charset="0"/>
            </a:endParaRPr>
          </a:p>
        </p:txBody>
      </p:sp>
      <p:sp>
        <p:nvSpPr>
          <p:cNvPr id="55" name="Freeform 11">
            <a:extLst>
              <a:ext uri="{FF2B5EF4-FFF2-40B4-BE49-F238E27FC236}">
                <a16:creationId xmlns:a16="http://schemas.microsoft.com/office/drawing/2014/main" id="{05A1D725-591A-41DF-BB66-EC6A596022D6}"/>
              </a:ext>
            </a:extLst>
          </p:cNvPr>
          <p:cNvSpPr>
            <a:spLocks/>
          </p:cNvSpPr>
          <p:nvPr/>
        </p:nvSpPr>
        <p:spPr bwMode="auto">
          <a:xfrm>
            <a:off x="4958637" y="1324017"/>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6" name="TextBox 55">
            <a:extLst>
              <a:ext uri="{FF2B5EF4-FFF2-40B4-BE49-F238E27FC236}">
                <a16:creationId xmlns:a16="http://schemas.microsoft.com/office/drawing/2014/main" id="{A5018920-BB8F-422A-8E02-7BFAD4E76D57}"/>
              </a:ext>
            </a:extLst>
          </p:cNvPr>
          <p:cNvSpPr txBox="1"/>
          <p:nvPr/>
        </p:nvSpPr>
        <p:spPr>
          <a:xfrm>
            <a:off x="5018375" y="1810246"/>
            <a:ext cx="761381" cy="369332"/>
          </a:xfrm>
          <a:prstGeom prst="rect">
            <a:avLst/>
          </a:prstGeom>
          <a:noFill/>
        </p:spPr>
        <p:txBody>
          <a:bodyPr wrap="square" rtlCol="0">
            <a:spAutoFit/>
          </a:bodyPr>
          <a:lstStyle/>
          <a:p>
            <a:pPr algn="ctr" defTabSz="914240"/>
            <a:r>
              <a:rPr lang="en-US" sz="900" b="1" dirty="0">
                <a:cs typeface="Arial" panose="020B0604020202020204" pitchFamily="34" charset="0"/>
              </a:rPr>
              <a:t>Credit Control</a:t>
            </a:r>
          </a:p>
        </p:txBody>
      </p:sp>
      <p:sp>
        <p:nvSpPr>
          <p:cNvPr id="57" name="Freeform 11">
            <a:extLst>
              <a:ext uri="{FF2B5EF4-FFF2-40B4-BE49-F238E27FC236}">
                <a16:creationId xmlns:a16="http://schemas.microsoft.com/office/drawing/2014/main" id="{D535185F-835C-44B0-A996-3D5C09EEA134}"/>
              </a:ext>
            </a:extLst>
          </p:cNvPr>
          <p:cNvSpPr>
            <a:spLocks/>
          </p:cNvSpPr>
          <p:nvPr/>
        </p:nvSpPr>
        <p:spPr bwMode="auto">
          <a:xfrm>
            <a:off x="4956151" y="2135509"/>
            <a:ext cx="992738" cy="1042919"/>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635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58" name="TextBox 57">
            <a:extLst>
              <a:ext uri="{FF2B5EF4-FFF2-40B4-BE49-F238E27FC236}">
                <a16:creationId xmlns:a16="http://schemas.microsoft.com/office/drawing/2014/main" id="{704CD13E-7AF5-4FE2-A150-36C02C076194}"/>
              </a:ext>
            </a:extLst>
          </p:cNvPr>
          <p:cNvSpPr txBox="1"/>
          <p:nvPr/>
        </p:nvSpPr>
        <p:spPr>
          <a:xfrm>
            <a:off x="4901585" y="2372792"/>
            <a:ext cx="879535" cy="369332"/>
          </a:xfrm>
          <a:prstGeom prst="rect">
            <a:avLst/>
          </a:prstGeom>
          <a:noFill/>
        </p:spPr>
        <p:txBody>
          <a:bodyPr wrap="square" rtlCol="0">
            <a:spAutoFit/>
          </a:bodyPr>
          <a:lstStyle/>
          <a:p>
            <a:pPr algn="ctr" defTabSz="914240"/>
            <a:r>
              <a:rPr lang="en-US" sz="900" b="1" dirty="0">
                <a:cs typeface="Arial" panose="020B0604020202020204" pitchFamily="34" charset="0"/>
              </a:rPr>
              <a:t>Collection</a:t>
            </a:r>
          </a:p>
          <a:p>
            <a:pPr algn="ctr" defTabSz="914240"/>
            <a:r>
              <a:rPr lang="en-US" sz="900" b="1" dirty="0" err="1">
                <a:cs typeface="Arial" panose="020B0604020202020204" pitchFamily="34" charset="0"/>
              </a:rPr>
              <a:t>Mgmt</a:t>
            </a:r>
            <a:endParaRPr lang="en-US" sz="900" b="1" dirty="0">
              <a:cs typeface="Arial" panose="020B0604020202020204" pitchFamily="34" charset="0"/>
            </a:endParaRPr>
          </a:p>
        </p:txBody>
      </p:sp>
      <p:sp>
        <p:nvSpPr>
          <p:cNvPr id="59" name="Freeform 7">
            <a:extLst>
              <a:ext uri="{FF2B5EF4-FFF2-40B4-BE49-F238E27FC236}">
                <a16:creationId xmlns:a16="http://schemas.microsoft.com/office/drawing/2014/main" id="{89F66EE3-6ED9-41B1-A6B3-7931339D80B6}"/>
              </a:ext>
            </a:extLst>
          </p:cNvPr>
          <p:cNvSpPr>
            <a:spLocks/>
          </p:cNvSpPr>
          <p:nvPr/>
        </p:nvSpPr>
        <p:spPr bwMode="auto">
          <a:xfrm>
            <a:off x="4745248" y="2949700"/>
            <a:ext cx="993564" cy="1042919"/>
          </a:xfrm>
          <a:custGeom>
            <a:avLst/>
            <a:gdLst>
              <a:gd name="T0" fmla="*/ 776 w 1203"/>
              <a:gd name="T1" fmla="*/ 10 h 1163"/>
              <a:gd name="T2" fmla="*/ 824 w 1203"/>
              <a:gd name="T3" fmla="*/ 56 h 1163"/>
              <a:gd name="T4" fmla="*/ 833 w 1203"/>
              <a:gd name="T5" fmla="*/ 112 h 1163"/>
              <a:gd name="T6" fmla="*/ 821 w 1203"/>
              <a:gd name="T7" fmla="*/ 154 h 1163"/>
              <a:gd name="T8" fmla="*/ 810 w 1203"/>
              <a:gd name="T9" fmla="*/ 183 h 1163"/>
              <a:gd name="T10" fmla="*/ 804 w 1203"/>
              <a:gd name="T11" fmla="*/ 218 h 1163"/>
              <a:gd name="T12" fmla="*/ 833 w 1203"/>
              <a:gd name="T13" fmla="*/ 246 h 1163"/>
              <a:gd name="T14" fmla="*/ 1203 w 1203"/>
              <a:gd name="T15" fmla="*/ 589 h 1163"/>
              <a:gd name="T16" fmla="*/ 1184 w 1203"/>
              <a:gd name="T17" fmla="*/ 630 h 1163"/>
              <a:gd name="T18" fmla="*/ 1137 w 1203"/>
              <a:gd name="T19" fmla="*/ 631 h 1163"/>
              <a:gd name="T20" fmla="*/ 1117 w 1203"/>
              <a:gd name="T21" fmla="*/ 623 h 1163"/>
              <a:gd name="T22" fmla="*/ 1075 w 1203"/>
              <a:gd name="T23" fmla="*/ 610 h 1163"/>
              <a:gd name="T24" fmla="*/ 1025 w 1203"/>
              <a:gd name="T25" fmla="*/ 609 h 1163"/>
              <a:gd name="T26" fmla="*/ 968 w 1203"/>
              <a:gd name="T27" fmla="*/ 643 h 1163"/>
              <a:gd name="T28" fmla="*/ 945 w 1203"/>
              <a:gd name="T29" fmla="*/ 706 h 1163"/>
              <a:gd name="T30" fmla="*/ 968 w 1203"/>
              <a:gd name="T31" fmla="*/ 768 h 1163"/>
              <a:gd name="T32" fmla="*/ 1025 w 1203"/>
              <a:gd name="T33" fmla="*/ 803 h 1163"/>
              <a:gd name="T34" fmla="*/ 1074 w 1203"/>
              <a:gd name="T35" fmla="*/ 804 h 1163"/>
              <a:gd name="T36" fmla="*/ 1113 w 1203"/>
              <a:gd name="T37" fmla="*/ 796 h 1163"/>
              <a:gd name="T38" fmla="*/ 1131 w 1203"/>
              <a:gd name="T39" fmla="*/ 791 h 1163"/>
              <a:gd name="T40" fmla="*/ 1175 w 1203"/>
              <a:gd name="T41" fmla="*/ 785 h 1163"/>
              <a:gd name="T42" fmla="*/ 1201 w 1203"/>
              <a:gd name="T43" fmla="*/ 808 h 1163"/>
              <a:gd name="T44" fmla="*/ 1147 w 1203"/>
              <a:gd name="T45" fmla="*/ 1163 h 1163"/>
              <a:gd name="T46" fmla="*/ 851 w 1203"/>
              <a:gd name="T47" fmla="*/ 1161 h 1163"/>
              <a:gd name="T48" fmla="*/ 809 w 1203"/>
              <a:gd name="T49" fmla="*/ 1143 h 1163"/>
              <a:gd name="T50" fmla="*/ 809 w 1203"/>
              <a:gd name="T51" fmla="*/ 1098 h 1163"/>
              <a:gd name="T52" fmla="*/ 817 w 1203"/>
              <a:gd name="T53" fmla="*/ 1079 h 1163"/>
              <a:gd name="T54" fmla="*/ 830 w 1203"/>
              <a:gd name="T55" fmla="*/ 1038 h 1163"/>
              <a:gd name="T56" fmla="*/ 831 w 1203"/>
              <a:gd name="T57" fmla="*/ 989 h 1163"/>
              <a:gd name="T58" fmla="*/ 795 w 1203"/>
              <a:gd name="T59" fmla="*/ 934 h 1163"/>
              <a:gd name="T60" fmla="*/ 730 w 1203"/>
              <a:gd name="T61" fmla="*/ 912 h 1163"/>
              <a:gd name="T62" fmla="*/ 666 w 1203"/>
              <a:gd name="T63" fmla="*/ 934 h 1163"/>
              <a:gd name="T64" fmla="*/ 630 w 1203"/>
              <a:gd name="T65" fmla="*/ 989 h 1163"/>
              <a:gd name="T66" fmla="*/ 631 w 1203"/>
              <a:gd name="T67" fmla="*/ 1038 h 1163"/>
              <a:gd name="T68" fmla="*/ 645 w 1203"/>
              <a:gd name="T69" fmla="*/ 1079 h 1163"/>
              <a:gd name="T70" fmla="*/ 653 w 1203"/>
              <a:gd name="T71" fmla="*/ 1098 h 1163"/>
              <a:gd name="T72" fmla="*/ 653 w 1203"/>
              <a:gd name="T73" fmla="*/ 1143 h 1163"/>
              <a:gd name="T74" fmla="*/ 610 w 1203"/>
              <a:gd name="T75" fmla="*/ 1161 h 1163"/>
              <a:gd name="T76" fmla="*/ 315 w 1203"/>
              <a:gd name="T77" fmla="*/ 1163 h 1163"/>
              <a:gd name="T78" fmla="*/ 256 w 1203"/>
              <a:gd name="T79" fmla="*/ 805 h 1163"/>
              <a:gd name="T80" fmla="*/ 226 w 1203"/>
              <a:gd name="T81" fmla="*/ 777 h 1163"/>
              <a:gd name="T82" fmla="*/ 193 w 1203"/>
              <a:gd name="T83" fmla="*/ 781 h 1163"/>
              <a:gd name="T84" fmla="*/ 170 w 1203"/>
              <a:gd name="T85" fmla="*/ 790 h 1163"/>
              <a:gd name="T86" fmla="*/ 129 w 1203"/>
              <a:gd name="T87" fmla="*/ 802 h 1163"/>
              <a:gd name="T88" fmla="*/ 85 w 1203"/>
              <a:gd name="T89" fmla="*/ 804 h 1163"/>
              <a:gd name="T90" fmla="*/ 46 w 1203"/>
              <a:gd name="T91" fmla="*/ 789 h 1163"/>
              <a:gd name="T92" fmla="*/ 8 w 1203"/>
              <a:gd name="T93" fmla="*/ 745 h 1163"/>
              <a:gd name="T94" fmla="*/ 2 w 1203"/>
              <a:gd name="T95" fmla="*/ 686 h 1163"/>
              <a:gd name="T96" fmla="*/ 31 w 1203"/>
              <a:gd name="T97" fmla="*/ 635 h 1163"/>
              <a:gd name="T98" fmla="*/ 66 w 1203"/>
              <a:gd name="T99" fmla="*/ 613 h 1163"/>
              <a:gd name="T100" fmla="*/ 116 w 1203"/>
              <a:gd name="T101" fmla="*/ 607 h 1163"/>
              <a:gd name="T102" fmla="*/ 157 w 1203"/>
              <a:gd name="T103" fmla="*/ 618 h 1163"/>
              <a:gd name="T104" fmla="*/ 189 w 1203"/>
              <a:gd name="T105" fmla="*/ 629 h 1163"/>
              <a:gd name="T106" fmla="*/ 210 w 1203"/>
              <a:gd name="T107" fmla="*/ 636 h 1163"/>
              <a:gd name="T108" fmla="*/ 250 w 1203"/>
              <a:gd name="T109" fmla="*/ 621 h 1163"/>
              <a:gd name="T110" fmla="*/ 258 w 1203"/>
              <a:gd name="T111" fmla="*/ 249 h 1163"/>
              <a:gd name="T112" fmla="*/ 643 w 1203"/>
              <a:gd name="T113" fmla="*/ 240 h 1163"/>
              <a:gd name="T114" fmla="*/ 658 w 1203"/>
              <a:gd name="T115" fmla="*/ 203 h 1163"/>
              <a:gd name="T116" fmla="*/ 649 w 1203"/>
              <a:gd name="T117" fmla="*/ 176 h 1163"/>
              <a:gd name="T118" fmla="*/ 636 w 1203"/>
              <a:gd name="T119" fmla="*/ 139 h 1163"/>
              <a:gd name="T120" fmla="*/ 627 w 1203"/>
              <a:gd name="T121" fmla="*/ 100 h 1163"/>
              <a:gd name="T122" fmla="*/ 650 w 1203"/>
              <a:gd name="T123" fmla="*/ 37 h 1163"/>
              <a:gd name="T124" fmla="*/ 707 w 1203"/>
              <a:gd name="T125"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3" h="1163">
                <a:moveTo>
                  <a:pt x="730" y="0"/>
                </a:moveTo>
                <a:lnTo>
                  <a:pt x="755" y="2"/>
                </a:lnTo>
                <a:lnTo>
                  <a:pt x="776" y="10"/>
                </a:lnTo>
                <a:lnTo>
                  <a:pt x="795" y="21"/>
                </a:lnTo>
                <a:lnTo>
                  <a:pt x="812" y="37"/>
                </a:lnTo>
                <a:lnTo>
                  <a:pt x="824" y="56"/>
                </a:lnTo>
                <a:lnTo>
                  <a:pt x="831" y="76"/>
                </a:lnTo>
                <a:lnTo>
                  <a:pt x="834" y="100"/>
                </a:lnTo>
                <a:lnTo>
                  <a:pt x="833" y="112"/>
                </a:lnTo>
                <a:lnTo>
                  <a:pt x="830" y="125"/>
                </a:lnTo>
                <a:lnTo>
                  <a:pt x="826" y="139"/>
                </a:lnTo>
                <a:lnTo>
                  <a:pt x="821" y="154"/>
                </a:lnTo>
                <a:lnTo>
                  <a:pt x="817" y="166"/>
                </a:lnTo>
                <a:lnTo>
                  <a:pt x="813" y="176"/>
                </a:lnTo>
                <a:lnTo>
                  <a:pt x="810" y="183"/>
                </a:lnTo>
                <a:lnTo>
                  <a:pt x="809" y="185"/>
                </a:lnTo>
                <a:lnTo>
                  <a:pt x="804" y="203"/>
                </a:lnTo>
                <a:lnTo>
                  <a:pt x="804" y="218"/>
                </a:lnTo>
                <a:lnTo>
                  <a:pt x="809" y="230"/>
                </a:lnTo>
                <a:lnTo>
                  <a:pt x="819" y="240"/>
                </a:lnTo>
                <a:lnTo>
                  <a:pt x="833" y="246"/>
                </a:lnTo>
                <a:lnTo>
                  <a:pt x="851" y="249"/>
                </a:lnTo>
                <a:lnTo>
                  <a:pt x="1203" y="249"/>
                </a:lnTo>
                <a:lnTo>
                  <a:pt x="1203" y="589"/>
                </a:lnTo>
                <a:lnTo>
                  <a:pt x="1201" y="607"/>
                </a:lnTo>
                <a:lnTo>
                  <a:pt x="1195" y="621"/>
                </a:lnTo>
                <a:lnTo>
                  <a:pt x="1184" y="630"/>
                </a:lnTo>
                <a:lnTo>
                  <a:pt x="1171" y="635"/>
                </a:lnTo>
                <a:lnTo>
                  <a:pt x="1155" y="636"/>
                </a:lnTo>
                <a:lnTo>
                  <a:pt x="1137" y="631"/>
                </a:lnTo>
                <a:lnTo>
                  <a:pt x="1135" y="630"/>
                </a:lnTo>
                <a:lnTo>
                  <a:pt x="1128" y="627"/>
                </a:lnTo>
                <a:lnTo>
                  <a:pt x="1117" y="623"/>
                </a:lnTo>
                <a:lnTo>
                  <a:pt x="1104" y="619"/>
                </a:lnTo>
                <a:lnTo>
                  <a:pt x="1090" y="614"/>
                </a:lnTo>
                <a:lnTo>
                  <a:pt x="1075" y="610"/>
                </a:lnTo>
                <a:lnTo>
                  <a:pt x="1061" y="607"/>
                </a:lnTo>
                <a:lnTo>
                  <a:pt x="1049" y="606"/>
                </a:lnTo>
                <a:lnTo>
                  <a:pt x="1025" y="609"/>
                </a:lnTo>
                <a:lnTo>
                  <a:pt x="1003" y="616"/>
                </a:lnTo>
                <a:lnTo>
                  <a:pt x="984" y="628"/>
                </a:lnTo>
                <a:lnTo>
                  <a:pt x="968" y="643"/>
                </a:lnTo>
                <a:lnTo>
                  <a:pt x="956" y="662"/>
                </a:lnTo>
                <a:lnTo>
                  <a:pt x="948" y="683"/>
                </a:lnTo>
                <a:lnTo>
                  <a:pt x="945" y="706"/>
                </a:lnTo>
                <a:lnTo>
                  <a:pt x="948" y="729"/>
                </a:lnTo>
                <a:lnTo>
                  <a:pt x="956" y="750"/>
                </a:lnTo>
                <a:lnTo>
                  <a:pt x="968" y="768"/>
                </a:lnTo>
                <a:lnTo>
                  <a:pt x="984" y="784"/>
                </a:lnTo>
                <a:lnTo>
                  <a:pt x="1003" y="796"/>
                </a:lnTo>
                <a:lnTo>
                  <a:pt x="1025" y="803"/>
                </a:lnTo>
                <a:lnTo>
                  <a:pt x="1049" y="806"/>
                </a:lnTo>
                <a:lnTo>
                  <a:pt x="1061" y="805"/>
                </a:lnTo>
                <a:lnTo>
                  <a:pt x="1074" y="804"/>
                </a:lnTo>
                <a:lnTo>
                  <a:pt x="1088" y="801"/>
                </a:lnTo>
                <a:lnTo>
                  <a:pt x="1102" y="799"/>
                </a:lnTo>
                <a:lnTo>
                  <a:pt x="1113" y="796"/>
                </a:lnTo>
                <a:lnTo>
                  <a:pt x="1123" y="794"/>
                </a:lnTo>
                <a:lnTo>
                  <a:pt x="1129" y="792"/>
                </a:lnTo>
                <a:lnTo>
                  <a:pt x="1131" y="791"/>
                </a:lnTo>
                <a:lnTo>
                  <a:pt x="1147" y="786"/>
                </a:lnTo>
                <a:lnTo>
                  <a:pt x="1162" y="784"/>
                </a:lnTo>
                <a:lnTo>
                  <a:pt x="1175" y="785"/>
                </a:lnTo>
                <a:lnTo>
                  <a:pt x="1186" y="789"/>
                </a:lnTo>
                <a:lnTo>
                  <a:pt x="1196" y="797"/>
                </a:lnTo>
                <a:lnTo>
                  <a:pt x="1201" y="808"/>
                </a:lnTo>
                <a:lnTo>
                  <a:pt x="1203" y="822"/>
                </a:lnTo>
                <a:lnTo>
                  <a:pt x="1203" y="1163"/>
                </a:lnTo>
                <a:lnTo>
                  <a:pt x="1147" y="1163"/>
                </a:lnTo>
                <a:lnTo>
                  <a:pt x="1140" y="1162"/>
                </a:lnTo>
                <a:lnTo>
                  <a:pt x="1131" y="1161"/>
                </a:lnTo>
                <a:lnTo>
                  <a:pt x="851" y="1161"/>
                </a:lnTo>
                <a:lnTo>
                  <a:pt x="833" y="1159"/>
                </a:lnTo>
                <a:lnTo>
                  <a:pt x="819" y="1153"/>
                </a:lnTo>
                <a:lnTo>
                  <a:pt x="809" y="1143"/>
                </a:lnTo>
                <a:lnTo>
                  <a:pt x="804" y="1130"/>
                </a:lnTo>
                <a:lnTo>
                  <a:pt x="804" y="1114"/>
                </a:lnTo>
                <a:lnTo>
                  <a:pt x="809" y="1098"/>
                </a:lnTo>
                <a:lnTo>
                  <a:pt x="810" y="1095"/>
                </a:lnTo>
                <a:lnTo>
                  <a:pt x="813" y="1089"/>
                </a:lnTo>
                <a:lnTo>
                  <a:pt x="817" y="1079"/>
                </a:lnTo>
                <a:lnTo>
                  <a:pt x="821" y="1066"/>
                </a:lnTo>
                <a:lnTo>
                  <a:pt x="826" y="1052"/>
                </a:lnTo>
                <a:lnTo>
                  <a:pt x="830" y="1038"/>
                </a:lnTo>
                <a:lnTo>
                  <a:pt x="833" y="1024"/>
                </a:lnTo>
                <a:lnTo>
                  <a:pt x="834" y="1013"/>
                </a:lnTo>
                <a:lnTo>
                  <a:pt x="831" y="989"/>
                </a:lnTo>
                <a:lnTo>
                  <a:pt x="824" y="968"/>
                </a:lnTo>
                <a:lnTo>
                  <a:pt x="812" y="950"/>
                </a:lnTo>
                <a:lnTo>
                  <a:pt x="795" y="934"/>
                </a:lnTo>
                <a:lnTo>
                  <a:pt x="776" y="922"/>
                </a:lnTo>
                <a:lnTo>
                  <a:pt x="755" y="915"/>
                </a:lnTo>
                <a:lnTo>
                  <a:pt x="730" y="912"/>
                </a:lnTo>
                <a:lnTo>
                  <a:pt x="707" y="915"/>
                </a:lnTo>
                <a:lnTo>
                  <a:pt x="685" y="922"/>
                </a:lnTo>
                <a:lnTo>
                  <a:pt x="666" y="934"/>
                </a:lnTo>
                <a:lnTo>
                  <a:pt x="650" y="950"/>
                </a:lnTo>
                <a:lnTo>
                  <a:pt x="638" y="968"/>
                </a:lnTo>
                <a:lnTo>
                  <a:pt x="630" y="989"/>
                </a:lnTo>
                <a:lnTo>
                  <a:pt x="627" y="1013"/>
                </a:lnTo>
                <a:lnTo>
                  <a:pt x="628" y="1024"/>
                </a:lnTo>
                <a:lnTo>
                  <a:pt x="631" y="1038"/>
                </a:lnTo>
                <a:lnTo>
                  <a:pt x="636" y="1052"/>
                </a:lnTo>
                <a:lnTo>
                  <a:pt x="641" y="1066"/>
                </a:lnTo>
                <a:lnTo>
                  <a:pt x="645" y="1079"/>
                </a:lnTo>
                <a:lnTo>
                  <a:pt x="649" y="1089"/>
                </a:lnTo>
                <a:lnTo>
                  <a:pt x="652" y="1095"/>
                </a:lnTo>
                <a:lnTo>
                  <a:pt x="653" y="1098"/>
                </a:lnTo>
                <a:lnTo>
                  <a:pt x="658" y="1114"/>
                </a:lnTo>
                <a:lnTo>
                  <a:pt x="658" y="1130"/>
                </a:lnTo>
                <a:lnTo>
                  <a:pt x="653" y="1143"/>
                </a:lnTo>
                <a:lnTo>
                  <a:pt x="643" y="1153"/>
                </a:lnTo>
                <a:lnTo>
                  <a:pt x="628" y="1159"/>
                </a:lnTo>
                <a:lnTo>
                  <a:pt x="610" y="1161"/>
                </a:lnTo>
                <a:lnTo>
                  <a:pt x="330" y="1161"/>
                </a:lnTo>
                <a:lnTo>
                  <a:pt x="322" y="1162"/>
                </a:lnTo>
                <a:lnTo>
                  <a:pt x="315" y="1163"/>
                </a:lnTo>
                <a:lnTo>
                  <a:pt x="258" y="1163"/>
                </a:lnTo>
                <a:lnTo>
                  <a:pt x="258" y="822"/>
                </a:lnTo>
                <a:lnTo>
                  <a:pt x="256" y="805"/>
                </a:lnTo>
                <a:lnTo>
                  <a:pt x="250" y="792"/>
                </a:lnTo>
                <a:lnTo>
                  <a:pt x="239" y="782"/>
                </a:lnTo>
                <a:lnTo>
                  <a:pt x="226" y="777"/>
                </a:lnTo>
                <a:lnTo>
                  <a:pt x="210" y="776"/>
                </a:lnTo>
                <a:lnTo>
                  <a:pt x="193" y="781"/>
                </a:lnTo>
                <a:lnTo>
                  <a:pt x="193" y="781"/>
                </a:lnTo>
                <a:lnTo>
                  <a:pt x="189" y="783"/>
                </a:lnTo>
                <a:lnTo>
                  <a:pt x="180" y="786"/>
                </a:lnTo>
                <a:lnTo>
                  <a:pt x="170" y="790"/>
                </a:lnTo>
                <a:lnTo>
                  <a:pt x="157" y="794"/>
                </a:lnTo>
                <a:lnTo>
                  <a:pt x="143" y="799"/>
                </a:lnTo>
                <a:lnTo>
                  <a:pt x="129" y="802"/>
                </a:lnTo>
                <a:lnTo>
                  <a:pt x="116" y="805"/>
                </a:lnTo>
                <a:lnTo>
                  <a:pt x="104" y="806"/>
                </a:lnTo>
                <a:lnTo>
                  <a:pt x="85" y="804"/>
                </a:lnTo>
                <a:lnTo>
                  <a:pt x="66" y="799"/>
                </a:lnTo>
                <a:lnTo>
                  <a:pt x="50" y="792"/>
                </a:lnTo>
                <a:lnTo>
                  <a:pt x="46" y="789"/>
                </a:lnTo>
                <a:lnTo>
                  <a:pt x="31" y="777"/>
                </a:lnTo>
                <a:lnTo>
                  <a:pt x="19" y="762"/>
                </a:lnTo>
                <a:lnTo>
                  <a:pt x="8" y="745"/>
                </a:lnTo>
                <a:lnTo>
                  <a:pt x="2" y="726"/>
                </a:lnTo>
                <a:lnTo>
                  <a:pt x="0" y="706"/>
                </a:lnTo>
                <a:lnTo>
                  <a:pt x="2" y="686"/>
                </a:lnTo>
                <a:lnTo>
                  <a:pt x="8" y="667"/>
                </a:lnTo>
                <a:lnTo>
                  <a:pt x="19" y="650"/>
                </a:lnTo>
                <a:lnTo>
                  <a:pt x="31" y="635"/>
                </a:lnTo>
                <a:lnTo>
                  <a:pt x="46" y="623"/>
                </a:lnTo>
                <a:lnTo>
                  <a:pt x="50" y="621"/>
                </a:lnTo>
                <a:lnTo>
                  <a:pt x="66" y="613"/>
                </a:lnTo>
                <a:lnTo>
                  <a:pt x="85" y="608"/>
                </a:lnTo>
                <a:lnTo>
                  <a:pt x="104" y="606"/>
                </a:lnTo>
                <a:lnTo>
                  <a:pt x="116" y="607"/>
                </a:lnTo>
                <a:lnTo>
                  <a:pt x="129" y="610"/>
                </a:lnTo>
                <a:lnTo>
                  <a:pt x="143" y="614"/>
                </a:lnTo>
                <a:lnTo>
                  <a:pt x="157" y="618"/>
                </a:lnTo>
                <a:lnTo>
                  <a:pt x="170" y="622"/>
                </a:lnTo>
                <a:lnTo>
                  <a:pt x="180" y="626"/>
                </a:lnTo>
                <a:lnTo>
                  <a:pt x="189" y="629"/>
                </a:lnTo>
                <a:lnTo>
                  <a:pt x="193" y="631"/>
                </a:lnTo>
                <a:lnTo>
                  <a:pt x="193" y="631"/>
                </a:lnTo>
                <a:lnTo>
                  <a:pt x="210" y="636"/>
                </a:lnTo>
                <a:lnTo>
                  <a:pt x="226" y="635"/>
                </a:lnTo>
                <a:lnTo>
                  <a:pt x="239" y="630"/>
                </a:lnTo>
                <a:lnTo>
                  <a:pt x="250" y="621"/>
                </a:lnTo>
                <a:lnTo>
                  <a:pt x="256" y="607"/>
                </a:lnTo>
                <a:lnTo>
                  <a:pt x="258" y="589"/>
                </a:lnTo>
                <a:lnTo>
                  <a:pt x="258" y="249"/>
                </a:lnTo>
                <a:lnTo>
                  <a:pt x="610" y="249"/>
                </a:lnTo>
                <a:lnTo>
                  <a:pt x="628" y="246"/>
                </a:lnTo>
                <a:lnTo>
                  <a:pt x="643" y="240"/>
                </a:lnTo>
                <a:lnTo>
                  <a:pt x="653" y="230"/>
                </a:lnTo>
                <a:lnTo>
                  <a:pt x="658" y="218"/>
                </a:lnTo>
                <a:lnTo>
                  <a:pt x="658" y="203"/>
                </a:lnTo>
                <a:lnTo>
                  <a:pt x="653" y="185"/>
                </a:lnTo>
                <a:lnTo>
                  <a:pt x="652" y="183"/>
                </a:lnTo>
                <a:lnTo>
                  <a:pt x="649" y="176"/>
                </a:lnTo>
                <a:lnTo>
                  <a:pt x="645" y="166"/>
                </a:lnTo>
                <a:lnTo>
                  <a:pt x="641" y="154"/>
                </a:lnTo>
                <a:lnTo>
                  <a:pt x="636" y="139"/>
                </a:lnTo>
                <a:lnTo>
                  <a:pt x="631" y="125"/>
                </a:lnTo>
                <a:lnTo>
                  <a:pt x="628" y="112"/>
                </a:lnTo>
                <a:lnTo>
                  <a:pt x="627" y="100"/>
                </a:lnTo>
                <a:lnTo>
                  <a:pt x="630" y="76"/>
                </a:lnTo>
                <a:lnTo>
                  <a:pt x="638" y="56"/>
                </a:lnTo>
                <a:lnTo>
                  <a:pt x="650" y="37"/>
                </a:lnTo>
                <a:lnTo>
                  <a:pt x="666" y="21"/>
                </a:lnTo>
                <a:lnTo>
                  <a:pt x="685" y="10"/>
                </a:lnTo>
                <a:lnTo>
                  <a:pt x="707" y="2"/>
                </a:lnTo>
                <a:lnTo>
                  <a:pt x="730" y="0"/>
                </a:lnTo>
                <a:close/>
              </a:path>
            </a:pathLst>
          </a:cu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0">
            <a:solidFill>
              <a:schemeClr val="accent1"/>
            </a:solidFill>
            <a:prstDash val="solid"/>
            <a:round/>
            <a:headEnd/>
            <a:tailEnd/>
          </a:ln>
        </p:spPr>
        <p:txBody>
          <a:bodyPr vert="horz" wrap="square" lIns="68580" tIns="34290" rIns="68580" bIns="34290" numCol="1" anchor="t" anchorCtr="0" compatLnSpc="1">
            <a:prstTxWarp prst="textNoShape">
              <a:avLst/>
            </a:prstTxWarp>
          </a:bodyPr>
          <a:lstStyle/>
          <a:p>
            <a:pPr defTabSz="914240"/>
            <a:endParaRPr lang="en-US" kern="0">
              <a:solidFill>
                <a:prstClr val="black"/>
              </a:solidFill>
              <a:cs typeface="Arial" panose="020B0604020202020204" pitchFamily="34" charset="0"/>
            </a:endParaRPr>
          </a:p>
        </p:txBody>
      </p:sp>
      <p:sp>
        <p:nvSpPr>
          <p:cNvPr id="60" name="TextBox 59">
            <a:extLst>
              <a:ext uri="{FF2B5EF4-FFF2-40B4-BE49-F238E27FC236}">
                <a16:creationId xmlns:a16="http://schemas.microsoft.com/office/drawing/2014/main" id="{9D345AEE-A88A-40FA-A9F8-A9ED572BB4D4}"/>
              </a:ext>
            </a:extLst>
          </p:cNvPr>
          <p:cNvSpPr txBox="1"/>
          <p:nvPr/>
        </p:nvSpPr>
        <p:spPr>
          <a:xfrm>
            <a:off x="4936560" y="3180368"/>
            <a:ext cx="761381" cy="369332"/>
          </a:xfrm>
          <a:prstGeom prst="rect">
            <a:avLst/>
          </a:prstGeom>
          <a:noFill/>
        </p:spPr>
        <p:txBody>
          <a:bodyPr wrap="square" rtlCol="0">
            <a:spAutoFit/>
          </a:bodyPr>
          <a:lstStyle/>
          <a:p>
            <a:pPr algn="ctr" defTabSz="914240"/>
            <a:r>
              <a:rPr lang="en-US" sz="900" b="1" dirty="0">
                <a:cs typeface="Arial" panose="020B0604020202020204" pitchFamily="34" charset="0"/>
              </a:rPr>
              <a:t>Dispute </a:t>
            </a:r>
            <a:r>
              <a:rPr lang="en-US" sz="900" b="1" dirty="0" err="1">
                <a:cs typeface="Arial" panose="020B0604020202020204" pitchFamily="34" charset="0"/>
              </a:rPr>
              <a:t>Mgmt</a:t>
            </a:r>
            <a:endParaRPr lang="en-US" sz="900" b="1" dirty="0">
              <a:cs typeface="Arial" panose="020B0604020202020204" pitchFamily="34" charset="0"/>
            </a:endParaRPr>
          </a:p>
        </p:txBody>
      </p:sp>
      <p:sp>
        <p:nvSpPr>
          <p:cNvPr id="61" name="Flowchart: Connector 60">
            <a:extLst>
              <a:ext uri="{FF2B5EF4-FFF2-40B4-BE49-F238E27FC236}">
                <a16:creationId xmlns:a16="http://schemas.microsoft.com/office/drawing/2014/main" id="{28ACFFAF-26E1-452E-BB0D-462758EE33FE}"/>
              </a:ext>
            </a:extLst>
          </p:cNvPr>
          <p:cNvSpPr/>
          <p:nvPr/>
        </p:nvSpPr>
        <p:spPr>
          <a:xfrm>
            <a:off x="2888567" y="1086332"/>
            <a:ext cx="3366866" cy="3387696"/>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b="1" dirty="0">
              <a:solidFill>
                <a:schemeClr val="bg1"/>
              </a:solidFill>
            </a:endParaRPr>
          </a:p>
        </p:txBody>
      </p:sp>
      <p:sp>
        <p:nvSpPr>
          <p:cNvPr id="3" name="Rectangle 2">
            <a:extLst>
              <a:ext uri="{FF2B5EF4-FFF2-40B4-BE49-F238E27FC236}">
                <a16:creationId xmlns:a16="http://schemas.microsoft.com/office/drawing/2014/main" id="{B3AE0434-4A35-4BF8-8709-7CB0F666BCF6}"/>
              </a:ext>
            </a:extLst>
          </p:cNvPr>
          <p:cNvSpPr/>
          <p:nvPr/>
        </p:nvSpPr>
        <p:spPr>
          <a:xfrm>
            <a:off x="207986" y="3272400"/>
            <a:ext cx="2435963" cy="661720"/>
          </a:xfrm>
          <a:prstGeom prst="rect">
            <a:avLst/>
          </a:prstGeom>
          <a:ln>
            <a:solidFill>
              <a:schemeClr val="tx1"/>
            </a:solidFill>
          </a:ln>
        </p:spPr>
        <p:txBody>
          <a:bodyPr wrap="square">
            <a:spAutoFit/>
          </a:bodyPr>
          <a:lstStyle/>
          <a:p>
            <a:pPr defTabSz="914378"/>
            <a:r>
              <a:rPr lang="en-US" sz="1000" dirty="0">
                <a:solidFill>
                  <a:schemeClr val="accent1"/>
                </a:solidFill>
              </a:rPr>
              <a:t>Cash Application</a:t>
            </a:r>
          </a:p>
          <a:p>
            <a:pPr marL="171450" indent="-171450" defTabSz="914378">
              <a:buFont typeface="Arial" panose="020B0604020202020204" pitchFamily="34" charset="0"/>
              <a:buChar char="–"/>
            </a:pPr>
            <a:r>
              <a:rPr lang="en-US" sz="900" dirty="0">
                <a:solidFill>
                  <a:schemeClr val="accent1"/>
                </a:solidFill>
              </a:rPr>
              <a:t>Recognition rate ~95% via Machine Learning algorithms</a:t>
            </a:r>
          </a:p>
          <a:p>
            <a:pPr marL="171450" indent="-171450" defTabSz="914378">
              <a:buFont typeface="Arial" panose="020B0604020202020204" pitchFamily="34" charset="0"/>
              <a:buChar char="–"/>
            </a:pPr>
            <a:r>
              <a:rPr lang="en-US" sz="900" dirty="0">
                <a:solidFill>
                  <a:schemeClr val="accent1"/>
                </a:solidFill>
              </a:rPr>
              <a:t>Reduced FTE (~1 EW)</a:t>
            </a:r>
          </a:p>
        </p:txBody>
      </p:sp>
      <p:sp>
        <p:nvSpPr>
          <p:cNvPr id="4" name="Rectangle 3">
            <a:extLst>
              <a:ext uri="{FF2B5EF4-FFF2-40B4-BE49-F238E27FC236}">
                <a16:creationId xmlns:a16="http://schemas.microsoft.com/office/drawing/2014/main" id="{1874D847-561E-4959-945E-95C423B24E9C}"/>
              </a:ext>
            </a:extLst>
          </p:cNvPr>
          <p:cNvSpPr/>
          <p:nvPr/>
        </p:nvSpPr>
        <p:spPr>
          <a:xfrm>
            <a:off x="197980" y="1352550"/>
            <a:ext cx="2445969" cy="938719"/>
          </a:xfrm>
          <a:prstGeom prst="rect">
            <a:avLst/>
          </a:prstGeom>
          <a:ln>
            <a:solidFill>
              <a:schemeClr val="tx1"/>
            </a:solidFill>
          </a:ln>
        </p:spPr>
        <p:txBody>
          <a:bodyPr wrap="square">
            <a:spAutoFit/>
          </a:bodyPr>
          <a:lstStyle/>
          <a:p>
            <a:pPr>
              <a:spcBef>
                <a:spcPts val="900"/>
              </a:spcBef>
            </a:pPr>
            <a:r>
              <a:rPr lang="en-US" sz="1000" kern="0" dirty="0">
                <a:solidFill>
                  <a:schemeClr val="accent1"/>
                </a:solidFill>
              </a:rPr>
              <a:t>Bank Communication</a:t>
            </a:r>
          </a:p>
          <a:p>
            <a:pPr marL="171450" lvl="0" indent="-171450">
              <a:buFont typeface="Arial" panose="020B0604020202020204" pitchFamily="34" charset="0"/>
              <a:buChar char="–"/>
            </a:pPr>
            <a:r>
              <a:rPr lang="en-US" sz="900" kern="0" dirty="0">
                <a:solidFill>
                  <a:schemeClr val="accent1"/>
                </a:solidFill>
              </a:rPr>
              <a:t>Single platform to manage and approve payments</a:t>
            </a:r>
          </a:p>
          <a:p>
            <a:pPr marL="171450" lvl="0" indent="-171450">
              <a:buFont typeface="Arial" panose="020B0604020202020204" pitchFamily="34" charset="0"/>
              <a:buChar char="–"/>
            </a:pPr>
            <a:r>
              <a:rPr lang="en-US" sz="900" kern="0" dirty="0">
                <a:solidFill>
                  <a:schemeClr val="accent1"/>
                </a:solidFill>
              </a:rPr>
              <a:t>Integration with Bank Account management tool</a:t>
            </a:r>
          </a:p>
          <a:p>
            <a:pPr marL="171450" lvl="0" indent="-171450">
              <a:buFont typeface="Arial" panose="020B0604020202020204" pitchFamily="34" charset="0"/>
              <a:buChar char="–"/>
            </a:pPr>
            <a:r>
              <a:rPr lang="en-GB" sz="900" kern="0" dirty="0">
                <a:solidFill>
                  <a:schemeClr val="accent1"/>
                </a:solidFill>
              </a:rPr>
              <a:t>Bank-agnostic payment solution</a:t>
            </a:r>
          </a:p>
        </p:txBody>
      </p:sp>
      <p:sp>
        <p:nvSpPr>
          <p:cNvPr id="5" name="Rectangle 4">
            <a:extLst>
              <a:ext uri="{FF2B5EF4-FFF2-40B4-BE49-F238E27FC236}">
                <a16:creationId xmlns:a16="http://schemas.microsoft.com/office/drawing/2014/main" id="{3037B148-13AF-45B6-9A24-A43DCDEDE73D}"/>
              </a:ext>
            </a:extLst>
          </p:cNvPr>
          <p:cNvSpPr/>
          <p:nvPr/>
        </p:nvSpPr>
        <p:spPr>
          <a:xfrm>
            <a:off x="207986" y="2453185"/>
            <a:ext cx="2445969" cy="661720"/>
          </a:xfrm>
          <a:prstGeom prst="rect">
            <a:avLst/>
          </a:prstGeom>
          <a:ln>
            <a:solidFill>
              <a:schemeClr val="tx1"/>
            </a:solidFill>
          </a:ln>
        </p:spPr>
        <p:txBody>
          <a:bodyPr wrap="square">
            <a:spAutoFit/>
          </a:bodyPr>
          <a:lstStyle/>
          <a:p>
            <a:pPr lvl="0"/>
            <a:r>
              <a:rPr lang="en-US" sz="1000" kern="0" dirty="0">
                <a:solidFill>
                  <a:schemeClr val="accent1"/>
                </a:solidFill>
              </a:rPr>
              <a:t>Cash &amp; Liquidity management</a:t>
            </a:r>
          </a:p>
          <a:p>
            <a:pPr marL="171450" lvl="0" indent="-171450">
              <a:buFont typeface="Arial" panose="020B0604020202020204" pitchFamily="34" charset="0"/>
              <a:buChar char="–"/>
            </a:pPr>
            <a:r>
              <a:rPr lang="en-US" sz="900" kern="0" dirty="0">
                <a:solidFill>
                  <a:schemeClr val="accent1"/>
                </a:solidFill>
              </a:rPr>
              <a:t>70% accuracy</a:t>
            </a:r>
          </a:p>
          <a:p>
            <a:pPr marL="171450" lvl="0" indent="-171450">
              <a:buFont typeface="Arial" panose="020B0604020202020204" pitchFamily="34" charset="0"/>
              <a:buChar char="–"/>
            </a:pPr>
            <a:r>
              <a:rPr lang="en-US" sz="900" kern="0" dirty="0">
                <a:solidFill>
                  <a:schemeClr val="accent1"/>
                </a:solidFill>
              </a:rPr>
              <a:t>Integrated cash concentration</a:t>
            </a:r>
          </a:p>
          <a:p>
            <a:pPr marL="171450" lvl="0" indent="-171450">
              <a:buFont typeface="Arial" panose="020B0604020202020204" pitchFamily="34" charset="0"/>
              <a:buChar char="–"/>
            </a:pPr>
            <a:r>
              <a:rPr lang="en-US" sz="900" kern="0" dirty="0">
                <a:solidFill>
                  <a:schemeClr val="accent1"/>
                </a:solidFill>
              </a:rPr>
              <a:t>Integration with OTC, PTS and IC</a:t>
            </a:r>
          </a:p>
        </p:txBody>
      </p:sp>
      <p:sp>
        <p:nvSpPr>
          <p:cNvPr id="26" name="Rectangle 25">
            <a:extLst>
              <a:ext uri="{FF2B5EF4-FFF2-40B4-BE49-F238E27FC236}">
                <a16:creationId xmlns:a16="http://schemas.microsoft.com/office/drawing/2014/main" id="{6665EB04-5B12-41A3-B5DC-9C4D4088CB54}"/>
              </a:ext>
            </a:extLst>
          </p:cNvPr>
          <p:cNvSpPr/>
          <p:nvPr/>
        </p:nvSpPr>
        <p:spPr>
          <a:xfrm>
            <a:off x="6446745" y="3354219"/>
            <a:ext cx="2238161" cy="954107"/>
          </a:xfrm>
          <a:prstGeom prst="rect">
            <a:avLst/>
          </a:prstGeom>
          <a:ln>
            <a:solidFill>
              <a:schemeClr val="tx1"/>
            </a:solidFill>
          </a:ln>
        </p:spPr>
        <p:txBody>
          <a:bodyPr wrap="square">
            <a:spAutoFit/>
          </a:bodyPr>
          <a:lstStyle/>
          <a:p>
            <a:pPr defTabSz="914401">
              <a:defRPr/>
            </a:pPr>
            <a:r>
              <a:rPr lang="en-US" sz="1000" dirty="0">
                <a:solidFill>
                  <a:schemeClr val="accent1"/>
                </a:solidFill>
              </a:rPr>
              <a:t>Credit Control, Collection &amp; Dispute management:</a:t>
            </a:r>
          </a:p>
          <a:p>
            <a:pPr marL="128591" indent="-128591" defTabSz="914401">
              <a:buFontTx/>
              <a:buChar char="-"/>
              <a:defRPr/>
            </a:pPr>
            <a:r>
              <a:rPr lang="en-US" sz="900" dirty="0">
                <a:solidFill>
                  <a:schemeClr val="accent1"/>
                </a:solidFill>
              </a:rPr>
              <a:t>One straightforward process</a:t>
            </a:r>
          </a:p>
          <a:p>
            <a:pPr marL="128591" indent="-128591" defTabSz="914401">
              <a:buFontTx/>
              <a:buChar char="-"/>
              <a:defRPr/>
            </a:pPr>
            <a:r>
              <a:rPr lang="en-US" sz="900" dirty="0">
                <a:solidFill>
                  <a:schemeClr val="accent1"/>
                </a:solidFill>
              </a:rPr>
              <a:t>Single source of truth</a:t>
            </a:r>
          </a:p>
          <a:p>
            <a:pPr marL="128591" indent="-128591" defTabSz="914401">
              <a:buFontTx/>
              <a:buChar char="-"/>
              <a:defRPr/>
            </a:pPr>
            <a:r>
              <a:rPr lang="en-US" sz="900" dirty="0">
                <a:solidFill>
                  <a:schemeClr val="accent1"/>
                </a:solidFill>
              </a:rPr>
              <a:t>Intelligent reporting system with high level of automation</a:t>
            </a:r>
          </a:p>
        </p:txBody>
      </p:sp>
      <p:sp>
        <p:nvSpPr>
          <p:cNvPr id="27" name="Rectangle 26">
            <a:extLst>
              <a:ext uri="{FF2B5EF4-FFF2-40B4-BE49-F238E27FC236}">
                <a16:creationId xmlns:a16="http://schemas.microsoft.com/office/drawing/2014/main" id="{CE4239A3-190F-4E8E-A4B6-595D54FDB3AD}"/>
              </a:ext>
            </a:extLst>
          </p:cNvPr>
          <p:cNvSpPr/>
          <p:nvPr/>
        </p:nvSpPr>
        <p:spPr>
          <a:xfrm>
            <a:off x="6450940" y="2135509"/>
            <a:ext cx="2235860" cy="1077218"/>
          </a:xfrm>
          <a:prstGeom prst="rect">
            <a:avLst/>
          </a:prstGeom>
          <a:ln>
            <a:solidFill>
              <a:schemeClr val="tx1"/>
            </a:solidFill>
          </a:ln>
        </p:spPr>
        <p:txBody>
          <a:bodyPr wrap="square">
            <a:spAutoFit/>
          </a:bodyPr>
          <a:lstStyle/>
          <a:p>
            <a:pPr defTabSz="914401">
              <a:defRPr/>
            </a:pPr>
            <a:r>
              <a:rPr lang="en-US" sz="1000" dirty="0">
                <a:solidFill>
                  <a:schemeClr val="accent1"/>
                </a:solidFill>
              </a:rPr>
              <a:t>Treasury and Risk Management</a:t>
            </a:r>
          </a:p>
          <a:p>
            <a:pPr marL="171450" indent="-171450" defTabSz="914401">
              <a:buFont typeface="Arial" panose="020B0604020202020204" pitchFamily="34" charset="0"/>
              <a:buChar char="–"/>
              <a:defRPr/>
            </a:pPr>
            <a:r>
              <a:rPr lang="en-US" sz="900" dirty="0">
                <a:solidFill>
                  <a:schemeClr val="accent1"/>
                </a:solidFill>
              </a:rPr>
              <a:t>Exposure management and Hedging integrated into CFF</a:t>
            </a:r>
          </a:p>
          <a:p>
            <a:pPr marL="171450" indent="-171450" defTabSz="914401">
              <a:buFont typeface="Arial" panose="020B0604020202020204" pitchFamily="34" charset="0"/>
              <a:buChar char="–"/>
              <a:defRPr/>
            </a:pPr>
            <a:r>
              <a:rPr lang="en-US" sz="900" dirty="0">
                <a:solidFill>
                  <a:schemeClr val="accent1"/>
                </a:solidFill>
              </a:rPr>
              <a:t>Native connection to trading platforms</a:t>
            </a:r>
          </a:p>
          <a:p>
            <a:pPr marL="171450" indent="-171450" defTabSz="914401">
              <a:buFont typeface="Arial" panose="020B0604020202020204" pitchFamily="34" charset="0"/>
              <a:buChar char="–"/>
              <a:defRPr/>
            </a:pPr>
            <a:r>
              <a:rPr lang="en-US" sz="900" dirty="0">
                <a:solidFill>
                  <a:schemeClr val="accent1"/>
                </a:solidFill>
              </a:rPr>
              <a:t>Automated hedge accounting</a:t>
            </a:r>
          </a:p>
          <a:p>
            <a:pPr marL="171450" indent="-171450" defTabSz="914401">
              <a:buFont typeface="Arial" panose="020B0604020202020204" pitchFamily="34" charset="0"/>
              <a:buChar char="–"/>
              <a:defRPr/>
            </a:pPr>
            <a:r>
              <a:rPr lang="en-US" sz="900" dirty="0">
                <a:solidFill>
                  <a:schemeClr val="accent1"/>
                </a:solidFill>
              </a:rPr>
              <a:t>Intelligent predictive modelling</a:t>
            </a:r>
          </a:p>
        </p:txBody>
      </p:sp>
      <p:sp>
        <p:nvSpPr>
          <p:cNvPr id="28" name="Rectangle 27">
            <a:extLst>
              <a:ext uri="{FF2B5EF4-FFF2-40B4-BE49-F238E27FC236}">
                <a16:creationId xmlns:a16="http://schemas.microsoft.com/office/drawing/2014/main" id="{1C1132E2-758E-482C-AA3F-548D93B7A414}"/>
              </a:ext>
            </a:extLst>
          </p:cNvPr>
          <p:cNvSpPr/>
          <p:nvPr/>
        </p:nvSpPr>
        <p:spPr>
          <a:xfrm>
            <a:off x="6446745" y="1321833"/>
            <a:ext cx="2238161" cy="661720"/>
          </a:xfrm>
          <a:prstGeom prst="rect">
            <a:avLst/>
          </a:prstGeom>
          <a:ln>
            <a:solidFill>
              <a:schemeClr val="tx1"/>
            </a:solidFill>
          </a:ln>
        </p:spPr>
        <p:txBody>
          <a:bodyPr wrap="square">
            <a:spAutoFit/>
          </a:bodyPr>
          <a:lstStyle/>
          <a:p>
            <a:pPr defTabSz="914401">
              <a:defRPr/>
            </a:pPr>
            <a:r>
              <a:rPr lang="en-US" sz="1000" dirty="0">
                <a:solidFill>
                  <a:schemeClr val="accent1"/>
                </a:solidFill>
              </a:rPr>
              <a:t>General</a:t>
            </a:r>
          </a:p>
          <a:p>
            <a:pPr marL="128591" indent="-128591" defTabSz="914401">
              <a:buFontTx/>
              <a:buChar char="-"/>
              <a:defRPr/>
            </a:pPr>
            <a:r>
              <a:rPr lang="en-US" sz="900" dirty="0">
                <a:solidFill>
                  <a:schemeClr val="accent1"/>
                </a:solidFill>
              </a:rPr>
              <a:t>Connected enterprise (11 systems)</a:t>
            </a:r>
          </a:p>
          <a:p>
            <a:pPr marL="128591" indent="-128591" defTabSz="914401">
              <a:buFontTx/>
              <a:buChar char="-"/>
              <a:defRPr/>
            </a:pPr>
            <a:r>
              <a:rPr lang="en-US" sz="900" dirty="0">
                <a:solidFill>
                  <a:schemeClr val="accent1"/>
                </a:solidFill>
              </a:rPr>
              <a:t>Unified master data model</a:t>
            </a:r>
          </a:p>
          <a:p>
            <a:pPr marL="128591" indent="-128591" defTabSz="914401">
              <a:buFontTx/>
              <a:buChar char="-"/>
              <a:defRPr/>
            </a:pPr>
            <a:r>
              <a:rPr lang="en-US" sz="900" dirty="0">
                <a:solidFill>
                  <a:schemeClr val="accent1"/>
                </a:solidFill>
              </a:rPr>
              <a:t>Lower overall TCO</a:t>
            </a:r>
          </a:p>
        </p:txBody>
      </p:sp>
    </p:spTree>
    <p:extLst>
      <p:ext uri="{BB962C8B-B14F-4D97-AF65-F5344CB8AC3E}">
        <p14:creationId xmlns:p14="http://schemas.microsoft.com/office/powerpoint/2010/main" val="21832900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9541" y="285750"/>
            <a:ext cx="8901123" cy="415498"/>
          </a:xfrm>
        </p:spPr>
        <p:txBody>
          <a:bodyPr/>
          <a:lstStyle/>
          <a:p>
            <a:r>
              <a:rPr lang="en-US" sz="2100" dirty="0"/>
              <a:t>Proposal for Treasury transformation roadmap</a:t>
            </a:r>
          </a:p>
        </p:txBody>
      </p:sp>
      <p:sp>
        <p:nvSpPr>
          <p:cNvPr id="64" name="Arc 42"/>
          <p:cNvSpPr>
            <a:spLocks/>
          </p:cNvSpPr>
          <p:nvPr/>
        </p:nvSpPr>
        <p:spPr bwMode="gray">
          <a:xfrm>
            <a:off x="-707" y="1980417"/>
            <a:ext cx="1970943" cy="647334"/>
          </a:xfrm>
          <a:custGeom>
            <a:avLst/>
            <a:gdLst>
              <a:gd name="G0" fmla="+- 19266 0 0"/>
              <a:gd name="G1" fmla="+- 21600 0 0"/>
              <a:gd name="G2" fmla="+- 21600 0 0"/>
              <a:gd name="T0" fmla="*/ 0 w 20829"/>
              <a:gd name="T1" fmla="*/ 11834 h 21600"/>
              <a:gd name="T2" fmla="*/ 20829 w 20829"/>
              <a:gd name="T3" fmla="*/ 57 h 21600"/>
              <a:gd name="T4" fmla="*/ 19266 w 20829"/>
              <a:gd name="T5" fmla="*/ 21600 h 21600"/>
            </a:gdLst>
            <a:ahLst/>
            <a:cxnLst>
              <a:cxn ang="0">
                <a:pos x="T0" y="T1"/>
              </a:cxn>
              <a:cxn ang="0">
                <a:pos x="T2" y="T3"/>
              </a:cxn>
              <a:cxn ang="0">
                <a:pos x="T4" y="T5"/>
              </a:cxn>
            </a:cxnLst>
            <a:rect l="0" t="0" r="r" b="b"/>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close/>
              </a:path>
            </a:pathLst>
          </a:custGeom>
          <a:noFill/>
          <a:ln w="38100">
            <a:solidFill>
              <a:srgbClr val="F0AB00"/>
            </a:solidFill>
            <a:round/>
            <a:headEnd/>
            <a:tailEnd/>
          </a:ln>
          <a:effectLst/>
        </p:spPr>
        <p:txBody>
          <a:bodyPr wrap="none" lIns="61227" tIns="30613" rIns="61227" bIns="30613" anchor="ctr"/>
          <a:lstStyle/>
          <a:p>
            <a:pPr defTabSz="685737">
              <a:defRPr/>
            </a:pPr>
            <a:endParaRPr lang="en-US" sz="1011" kern="0" dirty="0">
              <a:solidFill>
                <a:srgbClr val="000000"/>
              </a:solidFill>
              <a:latin typeface="Arial"/>
            </a:endParaRPr>
          </a:p>
        </p:txBody>
      </p:sp>
      <p:sp>
        <p:nvSpPr>
          <p:cNvPr id="65" name="Arc 43"/>
          <p:cNvSpPr>
            <a:spLocks/>
          </p:cNvSpPr>
          <p:nvPr/>
        </p:nvSpPr>
        <p:spPr bwMode="gray">
          <a:xfrm>
            <a:off x="2232086" y="1810074"/>
            <a:ext cx="1970943" cy="553056"/>
          </a:xfrm>
          <a:custGeom>
            <a:avLst/>
            <a:gdLst>
              <a:gd name="G0" fmla="+- 19582 0 0"/>
              <a:gd name="G1" fmla="+- 21600 0 0"/>
              <a:gd name="G2" fmla="+- 21600 0 0"/>
              <a:gd name="T0" fmla="*/ 0 w 21145"/>
              <a:gd name="T1" fmla="*/ 12483 h 21600"/>
              <a:gd name="T2" fmla="*/ 21145 w 21145"/>
              <a:gd name="T3" fmla="*/ 57 h 21600"/>
              <a:gd name="T4" fmla="*/ 19582 w 21145"/>
              <a:gd name="T5" fmla="*/ 21600 h 21600"/>
            </a:gdLst>
            <a:ahLst/>
            <a:cxnLst>
              <a:cxn ang="0">
                <a:pos x="T0" y="T1"/>
              </a:cxn>
              <a:cxn ang="0">
                <a:pos x="T2" y="T3"/>
              </a:cxn>
              <a:cxn ang="0">
                <a:pos x="T4" y="T5"/>
              </a:cxn>
            </a:cxnLst>
            <a:rect l="0" t="0" r="r" b="b"/>
            <a:pathLst>
              <a:path w="21145" h="21600" fill="none" extrusionOk="0">
                <a:moveTo>
                  <a:pt x="0" y="12483"/>
                </a:moveTo>
                <a:cubicBezTo>
                  <a:pt x="3545" y="4868"/>
                  <a:pt x="11182" y="-1"/>
                  <a:pt x="19582" y="0"/>
                </a:cubicBezTo>
                <a:cubicBezTo>
                  <a:pt x="20103" y="0"/>
                  <a:pt x="20624" y="18"/>
                  <a:pt x="21145" y="56"/>
                </a:cubicBezTo>
              </a:path>
              <a:path w="21145" h="21600" stroke="0" extrusionOk="0">
                <a:moveTo>
                  <a:pt x="0" y="12483"/>
                </a:moveTo>
                <a:cubicBezTo>
                  <a:pt x="3545" y="4868"/>
                  <a:pt x="11182" y="-1"/>
                  <a:pt x="19582" y="0"/>
                </a:cubicBezTo>
                <a:cubicBezTo>
                  <a:pt x="20103" y="0"/>
                  <a:pt x="20624" y="18"/>
                  <a:pt x="21145" y="56"/>
                </a:cubicBezTo>
                <a:lnTo>
                  <a:pt x="19582" y="21600"/>
                </a:lnTo>
                <a:close/>
              </a:path>
            </a:pathLst>
          </a:custGeom>
          <a:noFill/>
          <a:ln w="38100">
            <a:solidFill>
              <a:srgbClr val="F0AB00"/>
            </a:solidFill>
            <a:round/>
            <a:headEnd/>
            <a:tailEnd/>
          </a:ln>
          <a:effectLst/>
        </p:spPr>
        <p:txBody>
          <a:bodyPr wrap="none" lIns="61227" tIns="30613" rIns="61227" bIns="30613" anchor="ctr"/>
          <a:lstStyle/>
          <a:p>
            <a:pPr defTabSz="685737">
              <a:defRPr/>
            </a:pPr>
            <a:endParaRPr lang="en-US" sz="1011" kern="0" dirty="0">
              <a:solidFill>
                <a:srgbClr val="000000"/>
              </a:solidFill>
              <a:latin typeface="Arial"/>
            </a:endParaRPr>
          </a:p>
        </p:txBody>
      </p:sp>
      <p:sp>
        <p:nvSpPr>
          <p:cNvPr id="66" name="Arc 44"/>
          <p:cNvSpPr>
            <a:spLocks/>
          </p:cNvSpPr>
          <p:nvPr/>
        </p:nvSpPr>
        <p:spPr bwMode="gray">
          <a:xfrm>
            <a:off x="4542414" y="1667377"/>
            <a:ext cx="2221574" cy="425644"/>
          </a:xfrm>
          <a:custGeom>
            <a:avLst/>
            <a:gdLst>
              <a:gd name="G0" fmla="+- 19723 0 0"/>
              <a:gd name="G1" fmla="+- 21600 0 0"/>
              <a:gd name="G2" fmla="+- 21600 0 0"/>
              <a:gd name="T0" fmla="*/ 0 w 21286"/>
              <a:gd name="T1" fmla="*/ 12792 h 21600"/>
              <a:gd name="T2" fmla="*/ 21286 w 21286"/>
              <a:gd name="T3" fmla="*/ 57 h 21600"/>
              <a:gd name="T4" fmla="*/ 19723 w 21286"/>
              <a:gd name="T5" fmla="*/ 21600 h 21600"/>
            </a:gdLst>
            <a:ahLst/>
            <a:cxnLst>
              <a:cxn ang="0">
                <a:pos x="T0" y="T1"/>
              </a:cxn>
              <a:cxn ang="0">
                <a:pos x="T2" y="T3"/>
              </a:cxn>
              <a:cxn ang="0">
                <a:pos x="T4" y="T5"/>
              </a:cxn>
            </a:cxnLst>
            <a:rect l="0" t="0" r="r" b="b"/>
            <a:pathLst>
              <a:path w="21286" h="21600" fill="none" extrusionOk="0">
                <a:moveTo>
                  <a:pt x="0" y="12792"/>
                </a:moveTo>
                <a:cubicBezTo>
                  <a:pt x="3475" y="5010"/>
                  <a:pt x="11200" y="-1"/>
                  <a:pt x="19723" y="0"/>
                </a:cubicBezTo>
                <a:cubicBezTo>
                  <a:pt x="20244" y="0"/>
                  <a:pt x="20765" y="18"/>
                  <a:pt x="21286" y="56"/>
                </a:cubicBezTo>
              </a:path>
              <a:path w="21286" h="21600" stroke="0" extrusionOk="0">
                <a:moveTo>
                  <a:pt x="0" y="12792"/>
                </a:moveTo>
                <a:cubicBezTo>
                  <a:pt x="3475" y="5010"/>
                  <a:pt x="11200" y="-1"/>
                  <a:pt x="19723" y="0"/>
                </a:cubicBezTo>
                <a:cubicBezTo>
                  <a:pt x="20244" y="0"/>
                  <a:pt x="20765" y="18"/>
                  <a:pt x="21286" y="56"/>
                </a:cubicBezTo>
                <a:lnTo>
                  <a:pt x="19723" y="21600"/>
                </a:lnTo>
                <a:close/>
              </a:path>
            </a:pathLst>
          </a:custGeom>
          <a:noFill/>
          <a:ln w="38100">
            <a:solidFill>
              <a:srgbClr val="F0AB00"/>
            </a:solidFill>
            <a:round/>
            <a:headEnd/>
            <a:tailEnd/>
          </a:ln>
          <a:effectLst/>
        </p:spPr>
        <p:txBody>
          <a:bodyPr wrap="none" lIns="61227" tIns="30613" rIns="61227" bIns="30613" anchor="ctr"/>
          <a:lstStyle/>
          <a:p>
            <a:pPr defTabSz="685737">
              <a:defRPr/>
            </a:pPr>
            <a:endParaRPr lang="en-US" sz="1011" kern="0" dirty="0">
              <a:solidFill>
                <a:srgbClr val="000000"/>
              </a:solidFill>
              <a:latin typeface="Arial"/>
            </a:endParaRPr>
          </a:p>
        </p:txBody>
      </p:sp>
      <p:sp>
        <p:nvSpPr>
          <p:cNvPr id="67" name="Rectangle 45"/>
          <p:cNvSpPr>
            <a:spLocks noChangeArrowheads="1"/>
          </p:cNvSpPr>
          <p:nvPr>
            <p:custDataLst>
              <p:tags r:id="rId1"/>
            </p:custDataLst>
          </p:nvPr>
        </p:nvSpPr>
        <p:spPr bwMode="gray">
          <a:xfrm>
            <a:off x="-9496" y="1834858"/>
            <a:ext cx="1976818" cy="155555"/>
          </a:xfrm>
          <a:prstGeom prst="rect">
            <a:avLst/>
          </a:prstGeom>
          <a:noFill/>
          <a:ln w="9525">
            <a:noFill/>
            <a:miter lim="800000"/>
            <a:headEnd/>
            <a:tailEnd/>
          </a:ln>
          <a:effectLst/>
        </p:spPr>
        <p:txBody>
          <a:bodyPr wrap="square" lIns="0" tIns="0" rIns="0" bIns="0" anchor="b">
            <a:spAutoFit/>
          </a:bodyPr>
          <a:lstStyle/>
          <a:p>
            <a:pPr algn="ctr">
              <a:defRPr/>
            </a:pPr>
            <a:r>
              <a:rPr lang="nl-NL" sz="1011" b="1" dirty="0">
                <a:solidFill>
                  <a:srgbClr val="FF0000"/>
                </a:solidFill>
                <a:latin typeface="Arial"/>
                <a:cs typeface="Arial" charset="0"/>
              </a:rPr>
              <a:t>Current-State</a:t>
            </a:r>
          </a:p>
        </p:txBody>
      </p:sp>
      <p:sp>
        <p:nvSpPr>
          <p:cNvPr id="68" name="Rectangle 46"/>
          <p:cNvSpPr>
            <a:spLocks noChangeArrowheads="1"/>
          </p:cNvSpPr>
          <p:nvPr>
            <p:custDataLst>
              <p:tags r:id="rId2"/>
            </p:custDataLst>
          </p:nvPr>
        </p:nvSpPr>
        <p:spPr bwMode="gray">
          <a:xfrm>
            <a:off x="2155623" y="1302508"/>
            <a:ext cx="2123872" cy="466666"/>
          </a:xfrm>
          <a:prstGeom prst="rect">
            <a:avLst/>
          </a:prstGeom>
          <a:noFill/>
          <a:ln w="9525" algn="ctr">
            <a:noFill/>
            <a:miter lim="800000"/>
            <a:headEnd/>
            <a:tailEnd/>
          </a:ln>
          <a:effectLst/>
        </p:spPr>
        <p:txBody>
          <a:bodyPr wrap="square" lIns="0" tIns="0" rIns="0" bIns="0" anchor="b">
            <a:spAutoFit/>
          </a:bodyPr>
          <a:lstStyle/>
          <a:p>
            <a:pPr algn="ctr">
              <a:defRPr/>
            </a:pPr>
            <a:r>
              <a:rPr lang="en-US" sz="1011" b="1" dirty="0">
                <a:solidFill>
                  <a:srgbClr val="FF0000"/>
                </a:solidFill>
                <a:latin typeface="Arial"/>
                <a:cs typeface="Arial" charset="0"/>
              </a:rPr>
              <a:t>2019</a:t>
            </a:r>
          </a:p>
          <a:p>
            <a:pPr>
              <a:defRPr/>
            </a:pPr>
            <a:r>
              <a:rPr lang="nl-NL" sz="1011" b="1" dirty="0">
                <a:solidFill>
                  <a:srgbClr val="FF0000"/>
                </a:solidFill>
                <a:latin typeface="Arial"/>
                <a:cs typeface="Arial" charset="0"/>
              </a:rPr>
              <a:t>Phase 1 = </a:t>
            </a:r>
            <a:r>
              <a:rPr lang="en-US" sz="1011" b="1" dirty="0">
                <a:solidFill>
                  <a:srgbClr val="FF0000"/>
                </a:solidFill>
                <a:latin typeface="Arial"/>
                <a:cs typeface="Arial" charset="0"/>
              </a:rPr>
              <a:t>Focus on Cash Flow Forecasting &amp; Cash Application</a:t>
            </a:r>
          </a:p>
        </p:txBody>
      </p:sp>
      <p:sp>
        <p:nvSpPr>
          <p:cNvPr id="69" name="Rectangle 46"/>
          <p:cNvSpPr>
            <a:spLocks noChangeArrowheads="1"/>
          </p:cNvSpPr>
          <p:nvPr>
            <p:custDataLst>
              <p:tags r:id="rId3"/>
            </p:custDataLst>
          </p:nvPr>
        </p:nvSpPr>
        <p:spPr bwMode="gray">
          <a:xfrm>
            <a:off x="4523964" y="1153477"/>
            <a:ext cx="2345366" cy="466666"/>
          </a:xfrm>
          <a:prstGeom prst="rect">
            <a:avLst/>
          </a:prstGeom>
          <a:noFill/>
          <a:ln w="9525" algn="ctr">
            <a:noFill/>
            <a:miter lim="800000"/>
            <a:headEnd/>
            <a:tailEnd/>
          </a:ln>
          <a:effectLst/>
        </p:spPr>
        <p:txBody>
          <a:bodyPr wrap="square" lIns="0" tIns="0" rIns="0" bIns="0" anchor="b">
            <a:spAutoFit/>
          </a:bodyPr>
          <a:lstStyle/>
          <a:p>
            <a:pPr algn="ctr">
              <a:defRPr/>
            </a:pPr>
            <a:r>
              <a:rPr lang="en-US" sz="1011" b="1" dirty="0">
                <a:solidFill>
                  <a:srgbClr val="FF0000"/>
                </a:solidFill>
                <a:latin typeface="Arial"/>
                <a:cs typeface="Arial" charset="0"/>
              </a:rPr>
              <a:t>*2020</a:t>
            </a:r>
          </a:p>
          <a:p>
            <a:pPr>
              <a:defRPr/>
            </a:pPr>
            <a:r>
              <a:rPr lang="nl-NL" sz="1011" b="1" dirty="0">
                <a:solidFill>
                  <a:srgbClr val="FF0000"/>
                </a:solidFill>
                <a:latin typeface="Arial"/>
                <a:cs typeface="Arial" charset="0"/>
              </a:rPr>
              <a:t>Phase 2 = Focus on Cash Flow Forecasting &amp; Bank Communication</a:t>
            </a:r>
          </a:p>
        </p:txBody>
      </p:sp>
      <p:sp>
        <p:nvSpPr>
          <p:cNvPr id="80" name="Cloud 79"/>
          <p:cNvSpPr/>
          <p:nvPr/>
        </p:nvSpPr>
        <p:spPr bwMode="gray">
          <a:xfrm>
            <a:off x="77923" y="2055309"/>
            <a:ext cx="1889399" cy="1278441"/>
          </a:xfrm>
          <a:prstGeom prst="cloud">
            <a:avLst/>
          </a:prstGeom>
          <a:solidFill>
            <a:srgbClr val="FFFFFF"/>
          </a:solidFill>
          <a:ln w="12700" algn="ctr">
            <a:solidFill>
              <a:srgbClr val="0070C0"/>
            </a:solidFill>
            <a:miter lim="800000"/>
            <a:headEnd/>
            <a:tailEnd/>
          </a:ln>
          <a:effectLst>
            <a:outerShdw blurRad="50800" dist="38100" dir="2700000" algn="tl" rotWithShape="0">
              <a:prstClr val="black">
                <a:alpha val="40000"/>
              </a:prstClr>
            </a:outerShdw>
          </a:effectLst>
        </p:spPr>
        <p:txBody>
          <a:bodyPr lIns="0" tIns="0" rIns="0" bIns="0" rtlCol="0" anchor="t" anchorCtr="0"/>
          <a:lstStyle/>
          <a:p>
            <a:pPr marL="171446" indent="-171446" algn="ctr">
              <a:buFontTx/>
              <a:buChar char="-"/>
              <a:defRPr/>
            </a:pPr>
            <a:r>
              <a:rPr lang="en-US" sz="800" dirty="0">
                <a:solidFill>
                  <a:srgbClr val="000000"/>
                </a:solidFill>
                <a:latin typeface="Arial"/>
              </a:rPr>
              <a:t>2 Treasury platforms</a:t>
            </a:r>
          </a:p>
          <a:p>
            <a:pPr marL="171446" indent="-171446" algn="ctr">
              <a:buFontTx/>
              <a:buChar char="-"/>
              <a:defRPr/>
            </a:pPr>
            <a:r>
              <a:rPr lang="en-US" sz="800" dirty="0">
                <a:solidFill>
                  <a:srgbClr val="000000"/>
                </a:solidFill>
                <a:latin typeface="Arial"/>
              </a:rPr>
              <a:t>9 interfaces to banks</a:t>
            </a:r>
          </a:p>
          <a:p>
            <a:pPr marL="171446" indent="-171446" algn="ctr">
              <a:buFontTx/>
              <a:buChar char="-"/>
              <a:defRPr/>
            </a:pPr>
            <a:r>
              <a:rPr lang="en-US" sz="800" dirty="0">
                <a:solidFill>
                  <a:srgbClr val="000000"/>
                </a:solidFill>
                <a:latin typeface="Arial"/>
              </a:rPr>
              <a:t>Manual data exchange</a:t>
            </a:r>
          </a:p>
          <a:p>
            <a:pPr marL="171446" indent="-171446" algn="ctr">
              <a:buFontTx/>
              <a:buChar char="-"/>
              <a:defRPr/>
            </a:pPr>
            <a:r>
              <a:rPr lang="de-CH" sz="800" kern="0" dirty="0">
                <a:solidFill>
                  <a:srgbClr val="000000"/>
                </a:solidFill>
                <a:latin typeface="Arial"/>
                <a:ea typeface="Arial Unicode MS" pitchFamily="34" charset="-128"/>
                <a:cs typeface="Arial Unicode MS" pitchFamily="34" charset="-128"/>
              </a:rPr>
              <a:t>High TCO</a:t>
            </a:r>
          </a:p>
          <a:p>
            <a:pPr marL="171446" indent="-171446" algn="ctr">
              <a:buFontTx/>
              <a:buChar char="-"/>
              <a:defRPr/>
            </a:pPr>
            <a:r>
              <a:rPr lang="de-CH" sz="800" kern="0" dirty="0">
                <a:solidFill>
                  <a:srgbClr val="000000"/>
                </a:solidFill>
                <a:latin typeface="Arial"/>
                <a:ea typeface="Arial Unicode MS" pitchFamily="34" charset="-128"/>
                <a:cs typeface="Arial Unicode MS" pitchFamily="34" charset="-128"/>
              </a:rPr>
              <a:t>Manual-intensive </a:t>
            </a:r>
            <a:r>
              <a:rPr lang="de-CH" sz="800" kern="0" dirty="0" err="1">
                <a:solidFill>
                  <a:srgbClr val="000000"/>
                </a:solidFill>
                <a:latin typeface="Arial"/>
                <a:ea typeface="Arial Unicode MS" pitchFamily="34" charset="-128"/>
                <a:cs typeface="Arial Unicode MS" pitchFamily="34" charset="-128"/>
              </a:rPr>
              <a:t>processes</a:t>
            </a:r>
            <a:endParaRPr lang="en-US" sz="800" kern="0" dirty="0">
              <a:solidFill>
                <a:srgbClr val="000000"/>
              </a:solidFill>
              <a:latin typeface="Arial"/>
              <a:ea typeface="Arial Unicode MS" pitchFamily="34" charset="-128"/>
              <a:cs typeface="Arial Unicode MS" pitchFamily="34" charset="-128"/>
            </a:endParaRPr>
          </a:p>
        </p:txBody>
      </p:sp>
      <p:sp>
        <p:nvSpPr>
          <p:cNvPr id="169" name="Cloud 168"/>
          <p:cNvSpPr/>
          <p:nvPr/>
        </p:nvSpPr>
        <p:spPr bwMode="gray">
          <a:xfrm>
            <a:off x="2174547" y="1936897"/>
            <a:ext cx="2221574" cy="1244453"/>
          </a:xfrm>
          <a:prstGeom prst="cloud">
            <a:avLst/>
          </a:prstGeom>
          <a:solidFill>
            <a:srgbClr val="FFFFFF"/>
          </a:solidFill>
          <a:ln w="12700" algn="ctr">
            <a:solidFill>
              <a:srgbClr val="0070C0"/>
            </a:solidFill>
            <a:miter lim="800000"/>
            <a:headEnd/>
            <a:tailEnd/>
          </a:ln>
          <a:effectLst>
            <a:outerShdw blurRad="50800" dist="38100" dir="2700000" algn="tl" rotWithShape="0">
              <a:prstClr val="black">
                <a:alpha val="40000"/>
              </a:prstClr>
            </a:outerShdw>
          </a:effectLst>
        </p:spPr>
        <p:txBody>
          <a:bodyPr lIns="0" tIns="0" rIns="0" bIns="0" rtlCol="0" anchor="t"/>
          <a:lstStyle/>
          <a:p>
            <a:pPr marL="171450" indent="-171450" algn="ctr">
              <a:buFontTx/>
              <a:buChar char="-"/>
              <a:defRPr/>
            </a:pPr>
            <a:r>
              <a:rPr lang="en-US" sz="900" dirty="0">
                <a:solidFill>
                  <a:srgbClr val="000000"/>
                </a:solidFill>
                <a:latin typeface="Arial"/>
              </a:rPr>
              <a:t>Implement Cash &amp; Liquidity Mgmt (CLM)</a:t>
            </a:r>
          </a:p>
          <a:p>
            <a:pPr marL="171450" indent="-171450">
              <a:buFontTx/>
              <a:buChar char="-"/>
              <a:defRPr/>
            </a:pPr>
            <a:r>
              <a:rPr lang="en-US" sz="900" dirty="0">
                <a:solidFill>
                  <a:srgbClr val="000000"/>
                </a:solidFill>
                <a:latin typeface="Arial"/>
              </a:rPr>
              <a:t>Create CLM Expansion  &amp; CI Roadmap</a:t>
            </a:r>
          </a:p>
          <a:p>
            <a:pPr marL="128588" indent="-128588" algn="ctr">
              <a:buFontTx/>
              <a:buChar char="-"/>
              <a:defRPr/>
            </a:pPr>
            <a:r>
              <a:rPr lang="en-US" sz="900" dirty="0">
                <a:solidFill>
                  <a:srgbClr val="000000"/>
                </a:solidFill>
                <a:latin typeface="Arial"/>
              </a:rPr>
              <a:t>Replace </a:t>
            </a:r>
            <a:r>
              <a:rPr lang="en-US" sz="900" dirty="0" err="1">
                <a:solidFill>
                  <a:srgbClr val="000000"/>
                </a:solidFill>
                <a:latin typeface="Arial"/>
              </a:rPr>
              <a:t>Autobank</a:t>
            </a:r>
            <a:r>
              <a:rPr lang="en-US" sz="900" dirty="0">
                <a:solidFill>
                  <a:srgbClr val="000000"/>
                </a:solidFill>
                <a:latin typeface="Arial"/>
              </a:rPr>
              <a:t> with SAP Cash Application</a:t>
            </a:r>
            <a:endParaRPr lang="en-US" sz="900" b="1" kern="0" dirty="0">
              <a:solidFill>
                <a:srgbClr val="0070C0"/>
              </a:solidFill>
              <a:latin typeface="Arial"/>
              <a:ea typeface="Arial Unicode MS" pitchFamily="34" charset="-128"/>
              <a:cs typeface="Arial Unicode MS" pitchFamily="34" charset="-128"/>
            </a:endParaRPr>
          </a:p>
        </p:txBody>
      </p:sp>
      <p:sp>
        <p:nvSpPr>
          <p:cNvPr id="180" name="Cloud 179"/>
          <p:cNvSpPr/>
          <p:nvPr/>
        </p:nvSpPr>
        <p:spPr bwMode="gray">
          <a:xfrm>
            <a:off x="4554638" y="1723536"/>
            <a:ext cx="2013325" cy="1221125"/>
          </a:xfrm>
          <a:prstGeom prst="cloud">
            <a:avLst/>
          </a:prstGeom>
          <a:solidFill>
            <a:srgbClr val="FFFFFF"/>
          </a:solidFill>
          <a:ln w="12700" algn="ctr">
            <a:solidFill>
              <a:srgbClr val="0070C0"/>
            </a:solidFill>
            <a:miter lim="800000"/>
            <a:headEnd/>
            <a:tailEnd/>
          </a:ln>
          <a:effectLst>
            <a:outerShdw blurRad="50800" dist="38100" dir="2700000" algn="tl" rotWithShape="0">
              <a:prstClr val="black">
                <a:alpha val="40000"/>
              </a:prstClr>
            </a:outerShdw>
          </a:effectLst>
        </p:spPr>
        <p:txBody>
          <a:bodyPr lIns="0" tIns="0" rIns="0" bIns="0" rtlCol="0" anchor="t"/>
          <a:lstStyle/>
          <a:p>
            <a:pPr marL="128588" indent="-128588" algn="ctr">
              <a:buFontTx/>
              <a:buChar char="-"/>
              <a:defRPr/>
            </a:pPr>
            <a:r>
              <a:rPr lang="en-US" sz="900" dirty="0">
                <a:solidFill>
                  <a:srgbClr val="000000"/>
                </a:solidFill>
                <a:latin typeface="Arial"/>
              </a:rPr>
              <a:t>Expand CLM per approved roadmap</a:t>
            </a:r>
          </a:p>
          <a:p>
            <a:pPr marL="128588" indent="-128588" algn="ctr">
              <a:buFontTx/>
              <a:buChar char="-"/>
              <a:defRPr/>
            </a:pPr>
            <a:r>
              <a:rPr lang="en-US" sz="900" dirty="0">
                <a:solidFill>
                  <a:srgbClr val="000000"/>
                </a:solidFill>
                <a:latin typeface="Arial"/>
              </a:rPr>
              <a:t>Multibank Cash Pooling in China</a:t>
            </a:r>
          </a:p>
          <a:p>
            <a:pPr marL="128588" indent="-128588" algn="ctr">
              <a:buFontTx/>
              <a:buChar char="-"/>
              <a:defRPr/>
            </a:pPr>
            <a:r>
              <a:rPr lang="en-US" sz="900" dirty="0">
                <a:solidFill>
                  <a:srgbClr val="000000"/>
                </a:solidFill>
                <a:latin typeface="Arial"/>
              </a:rPr>
              <a:t>Bank communication automation</a:t>
            </a:r>
          </a:p>
        </p:txBody>
      </p:sp>
      <p:graphicFrame>
        <p:nvGraphicFramePr>
          <p:cNvPr id="2" name="Table 1"/>
          <p:cNvGraphicFramePr>
            <a:graphicFrameLocks noGrp="1"/>
          </p:cNvGraphicFramePr>
          <p:nvPr>
            <p:extLst>
              <p:ext uri="{D42A27DB-BD31-4B8C-83A1-F6EECF244321}">
                <p14:modId xmlns:p14="http://schemas.microsoft.com/office/powerpoint/2010/main" val="2841455194"/>
              </p:ext>
            </p:extLst>
          </p:nvPr>
        </p:nvGraphicFramePr>
        <p:xfrm>
          <a:off x="1" y="3385812"/>
          <a:ext cx="9144002" cy="1427480"/>
        </p:xfrm>
        <a:graphic>
          <a:graphicData uri="http://schemas.openxmlformats.org/drawingml/2006/table">
            <a:tbl>
              <a:tblPr firstRow="1" bandRow="1">
                <a:tableStyleId>{2D5ABB26-0587-4C30-8999-92F81FD0307C}</a:tableStyleId>
              </a:tblPr>
              <a:tblGrid>
                <a:gridCol w="1986515">
                  <a:extLst>
                    <a:ext uri="{9D8B030D-6E8A-4147-A177-3AD203B41FA5}">
                      <a16:colId xmlns:a16="http://schemas.microsoft.com/office/drawing/2014/main" val="20000"/>
                    </a:ext>
                  </a:extLst>
                </a:gridCol>
                <a:gridCol w="2535739">
                  <a:extLst>
                    <a:ext uri="{9D8B030D-6E8A-4147-A177-3AD203B41FA5}">
                      <a16:colId xmlns:a16="http://schemas.microsoft.com/office/drawing/2014/main" val="20001"/>
                    </a:ext>
                  </a:extLst>
                </a:gridCol>
                <a:gridCol w="2310874">
                  <a:extLst>
                    <a:ext uri="{9D8B030D-6E8A-4147-A177-3AD203B41FA5}">
                      <a16:colId xmlns:a16="http://schemas.microsoft.com/office/drawing/2014/main" val="20002"/>
                    </a:ext>
                  </a:extLst>
                </a:gridCol>
                <a:gridCol w="2310874">
                  <a:extLst>
                    <a:ext uri="{9D8B030D-6E8A-4147-A177-3AD203B41FA5}">
                      <a16:colId xmlns:a16="http://schemas.microsoft.com/office/drawing/2014/main" val="20003"/>
                    </a:ext>
                  </a:extLst>
                </a:gridCol>
              </a:tblGrid>
              <a:tr h="173929">
                <a:tc gridSpan="3">
                  <a:txBody>
                    <a:bodyPr/>
                    <a:lstStyle/>
                    <a:p>
                      <a:pPr algn="ctr"/>
                      <a:r>
                        <a:rPr lang="de-CH" sz="800" b="1" dirty="0"/>
                        <a:t>                                                                             Expected business benefits</a:t>
                      </a:r>
                      <a:endParaRPr lang="en-US" sz="800" b="1" dirty="0"/>
                    </a:p>
                  </a:txBody>
                  <a:tcPr marL="68580" marR="68580" marT="34290" marB="34290" anchor="ctr">
                    <a:solidFill>
                      <a:schemeClr val="accent3">
                        <a:lumMod val="20000"/>
                        <a:lumOff val="80000"/>
                      </a:schemeClr>
                    </a:solidFill>
                  </a:tcPr>
                </a:tc>
                <a:tc hMerge="1">
                  <a:txBody>
                    <a:bodyPr/>
                    <a:lstStyle/>
                    <a:p>
                      <a:endParaRPr lang="en-US" dirty="0"/>
                    </a:p>
                  </a:txBody>
                  <a:tcPr/>
                </a:tc>
                <a:tc hMerge="1">
                  <a:txBody>
                    <a:bodyPr/>
                    <a:lstStyle/>
                    <a:p>
                      <a:endParaRPr lang="en-US" dirty="0"/>
                    </a:p>
                  </a:txBody>
                  <a:tcPr/>
                </a:tc>
                <a:tc>
                  <a:txBody>
                    <a:bodyPr/>
                    <a:lstStyle/>
                    <a:p>
                      <a:pPr algn="ctr"/>
                      <a:endParaRPr lang="en-US" sz="800" b="1" dirty="0"/>
                    </a:p>
                  </a:txBody>
                  <a:tcPr marL="68580" marR="68580" marT="34290" marB="34290" anchor="ctr">
                    <a:solidFill>
                      <a:schemeClr val="accent3">
                        <a:lumMod val="20000"/>
                        <a:lumOff val="80000"/>
                      </a:schemeClr>
                    </a:solidFill>
                  </a:tcPr>
                </a:tc>
                <a:extLst>
                  <a:ext uri="{0D108BD9-81ED-4DB2-BD59-A6C34878D82A}">
                    <a16:rowId xmlns:a16="http://schemas.microsoft.com/office/drawing/2014/main" val="10000"/>
                  </a:ext>
                </a:extLst>
              </a:tr>
              <a:tr h="967048">
                <a:tc>
                  <a:txBody>
                    <a:bodyPr/>
                    <a:lstStyle/>
                    <a:p>
                      <a:pPr marL="71408" lvl="2" indent="0" algn="l" defTabSz="380933" rtl="0" eaLnBrk="1" latinLnBrk="0" hangingPunct="1">
                        <a:spcAft>
                          <a:spcPts val="225"/>
                        </a:spcAft>
                        <a:buSzPct val="100000"/>
                        <a:buFont typeface="Wingdings" panose="05000000000000000000" pitchFamily="2" charset="2"/>
                        <a:buNone/>
                      </a:pPr>
                      <a:endParaRPr lang="en-US" sz="700" kern="1200" noProof="0" dirty="0">
                        <a:solidFill>
                          <a:schemeClr val="tx1"/>
                        </a:solidFill>
                        <a:latin typeface="+mn-lt"/>
                        <a:ea typeface="+mn-ea"/>
                        <a:cs typeface="+mn-cs"/>
                      </a:endParaRPr>
                    </a:p>
                  </a:txBody>
                  <a:tcPr marL="68580" marR="68580" marT="34290" marB="34290">
                    <a:solidFill>
                      <a:schemeClr val="tx2">
                        <a:lumMod val="20000"/>
                        <a:lumOff val="80000"/>
                      </a:schemeClr>
                    </a:solidFill>
                  </a:tcPr>
                </a:tc>
                <a:tc>
                  <a:txBody>
                    <a:bodyPr/>
                    <a:lstStyle/>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Reduce A/R manual work on cash application by 70-80%</a:t>
                      </a:r>
                    </a:p>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Reduce DSO 1-2 Days</a:t>
                      </a:r>
                    </a:p>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Reduce unplanned borrowed capital </a:t>
                      </a:r>
                    </a:p>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Identify available cash for investments that drive business outcomes</a:t>
                      </a:r>
                    </a:p>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Reduce quantity of Genpact EWs</a:t>
                      </a:r>
                    </a:p>
                  </a:txBody>
                  <a:tcPr marL="68580" marR="68580" marT="34290" marB="34290">
                    <a:solidFill>
                      <a:schemeClr val="tx2">
                        <a:lumMod val="20000"/>
                        <a:lumOff val="80000"/>
                      </a:schemeClr>
                    </a:solidFill>
                  </a:tcPr>
                </a:tc>
                <a:tc>
                  <a:txBody>
                    <a:bodyPr/>
                    <a:lstStyle/>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Transparent &amp; predictable cash position with moderate to high level of accuracy</a:t>
                      </a:r>
                    </a:p>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Singular approval process for proposed payments (incl payroll)</a:t>
                      </a:r>
                    </a:p>
                    <a:p>
                      <a:pPr marL="242858" lvl="2" indent="-171450" algn="l" defTabSz="380933" rtl="0" eaLnBrk="1" latinLnBrk="0" hangingPunct="1">
                        <a:spcAft>
                          <a:spcPts val="225"/>
                        </a:spcAft>
                        <a:buSzPct val="100000"/>
                        <a:buFont typeface="Wingdings" panose="05000000000000000000" pitchFamily="2" charset="2"/>
                        <a:buChar char="Ø"/>
                      </a:pPr>
                      <a:r>
                        <a:rPr lang="en-US" sz="1000" kern="1200" noProof="0" dirty="0">
                          <a:solidFill>
                            <a:schemeClr val="tx1"/>
                          </a:solidFill>
                          <a:latin typeface="+mn-lt"/>
                          <a:ea typeface="+mn-ea"/>
                          <a:cs typeface="+mn-cs"/>
                        </a:rPr>
                        <a:t>Bank-agnostic payment capabilities</a:t>
                      </a:r>
                    </a:p>
                  </a:txBody>
                  <a:tcPr marL="68580" marR="68580" marT="34290" marB="34290">
                    <a:solidFill>
                      <a:schemeClr val="tx2">
                        <a:lumMod val="20000"/>
                        <a:lumOff val="80000"/>
                      </a:schemeClr>
                    </a:solidFill>
                  </a:tcPr>
                </a:tc>
                <a:tc>
                  <a:txBody>
                    <a:bodyPr/>
                    <a:lstStyle/>
                    <a:p>
                      <a:pPr marL="242858" marR="0" lvl="2" indent="-171450" algn="l" defTabSz="380933" rtl="0" eaLnBrk="1" fontAlgn="auto" latinLnBrk="0" hangingPunct="1">
                        <a:lnSpc>
                          <a:spcPct val="100000"/>
                        </a:lnSpc>
                        <a:spcBef>
                          <a:spcPts val="0"/>
                        </a:spcBef>
                        <a:spcAft>
                          <a:spcPts val="225"/>
                        </a:spcAft>
                        <a:buClrTx/>
                        <a:buSzPct val="100000"/>
                        <a:buFont typeface="Wingdings" panose="05000000000000000000" pitchFamily="2" charset="2"/>
                        <a:buChar char="Ø"/>
                        <a:tabLst/>
                        <a:defRPr/>
                      </a:pPr>
                      <a:r>
                        <a:rPr lang="en-US" sz="1000" kern="1200" noProof="0" dirty="0">
                          <a:solidFill>
                            <a:schemeClr val="tx1"/>
                          </a:solidFill>
                          <a:latin typeface="+mn-lt"/>
                          <a:ea typeface="+mn-ea"/>
                          <a:cs typeface="+mn-cs"/>
                        </a:rPr>
                        <a:t>Reduce Cost of Capital</a:t>
                      </a:r>
                    </a:p>
                    <a:p>
                      <a:pPr marL="242858" marR="0" lvl="2" indent="-171450" algn="l" defTabSz="380933" rtl="0" eaLnBrk="1" fontAlgn="auto" latinLnBrk="0" hangingPunct="1">
                        <a:lnSpc>
                          <a:spcPct val="100000"/>
                        </a:lnSpc>
                        <a:spcBef>
                          <a:spcPts val="0"/>
                        </a:spcBef>
                        <a:spcAft>
                          <a:spcPts val="225"/>
                        </a:spcAft>
                        <a:buClrTx/>
                        <a:buSzPct val="100000"/>
                        <a:buFont typeface="Wingdings" panose="05000000000000000000" pitchFamily="2" charset="2"/>
                        <a:buChar char="Ø"/>
                        <a:tabLst/>
                        <a:defRPr/>
                      </a:pPr>
                      <a:r>
                        <a:rPr lang="en-US" sz="1000" kern="1200" noProof="0" dirty="0">
                          <a:solidFill>
                            <a:schemeClr val="tx1"/>
                          </a:solidFill>
                          <a:latin typeface="+mn-lt"/>
                          <a:ea typeface="+mn-ea"/>
                          <a:cs typeface="+mn-cs"/>
                        </a:rPr>
                        <a:t>Improve Treasury employee productivity 20-30%</a:t>
                      </a:r>
                    </a:p>
                    <a:p>
                      <a:pPr marL="242858" marR="0" lvl="2" indent="-171450" algn="l" defTabSz="380933" rtl="0" eaLnBrk="1" fontAlgn="auto" latinLnBrk="0" hangingPunct="1">
                        <a:lnSpc>
                          <a:spcPct val="100000"/>
                        </a:lnSpc>
                        <a:spcBef>
                          <a:spcPts val="0"/>
                        </a:spcBef>
                        <a:spcAft>
                          <a:spcPts val="225"/>
                        </a:spcAft>
                        <a:buClrTx/>
                        <a:buSzPct val="100000"/>
                        <a:buFont typeface="Wingdings" panose="05000000000000000000" pitchFamily="2" charset="2"/>
                        <a:buChar char="Ø"/>
                        <a:tabLst/>
                        <a:defRPr/>
                      </a:pPr>
                      <a:r>
                        <a:rPr lang="en-US" sz="1000" kern="1200" noProof="0" dirty="0">
                          <a:solidFill>
                            <a:schemeClr val="tx1"/>
                          </a:solidFill>
                          <a:latin typeface="+mn-lt"/>
                          <a:ea typeface="+mn-ea"/>
                          <a:cs typeface="+mn-cs"/>
                        </a:rPr>
                        <a:t>Reduce bank fees 5-10%</a:t>
                      </a:r>
                    </a:p>
                    <a:p>
                      <a:pPr marL="242858" marR="0" lvl="2" indent="-171450" algn="l" defTabSz="380933" rtl="0" eaLnBrk="1" fontAlgn="auto" latinLnBrk="0" hangingPunct="1">
                        <a:lnSpc>
                          <a:spcPct val="100000"/>
                        </a:lnSpc>
                        <a:spcBef>
                          <a:spcPts val="0"/>
                        </a:spcBef>
                        <a:spcAft>
                          <a:spcPts val="225"/>
                        </a:spcAft>
                        <a:buClrTx/>
                        <a:buSzPct val="100000"/>
                        <a:buFont typeface="Wingdings" panose="05000000000000000000" pitchFamily="2" charset="2"/>
                        <a:buChar char="Ø"/>
                        <a:tabLst/>
                        <a:defRPr/>
                      </a:pPr>
                      <a:r>
                        <a:rPr lang="en-US" sz="1000" kern="1200" baseline="0" noProof="0" dirty="0">
                          <a:solidFill>
                            <a:schemeClr val="tx1"/>
                          </a:solidFill>
                          <a:latin typeface="+mn-lt"/>
                          <a:ea typeface="+mn-ea"/>
                          <a:cs typeface="+mn-cs"/>
                        </a:rPr>
                        <a:t>Automated hedge accounting</a:t>
                      </a:r>
                    </a:p>
                    <a:p>
                      <a:pPr marL="242858" marR="0" lvl="2" indent="-171450" algn="l" defTabSz="380933" rtl="0" eaLnBrk="1" fontAlgn="auto" latinLnBrk="0" hangingPunct="1">
                        <a:lnSpc>
                          <a:spcPct val="100000"/>
                        </a:lnSpc>
                        <a:spcBef>
                          <a:spcPts val="0"/>
                        </a:spcBef>
                        <a:spcAft>
                          <a:spcPts val="225"/>
                        </a:spcAft>
                        <a:buClrTx/>
                        <a:buSzPct val="100000"/>
                        <a:buFont typeface="Wingdings" panose="05000000000000000000" pitchFamily="2" charset="2"/>
                        <a:buChar char="Ø"/>
                        <a:tabLst/>
                        <a:defRPr/>
                      </a:pPr>
                      <a:r>
                        <a:rPr lang="en-US" sz="1000" kern="1200" baseline="0" noProof="0" dirty="0">
                          <a:solidFill>
                            <a:schemeClr val="tx1"/>
                          </a:solidFill>
                          <a:latin typeface="+mn-lt"/>
                          <a:ea typeface="+mn-ea"/>
                          <a:cs typeface="+mn-cs"/>
                        </a:rPr>
                        <a:t>Optimized accuracy &amp; predictability of cash position</a:t>
                      </a:r>
                      <a:endParaRPr lang="en-US" sz="1000" baseline="0" noProof="0" dirty="0"/>
                    </a:p>
                  </a:txBody>
                  <a:tcPr marL="68580" marR="68580" marT="34290" marB="34290">
                    <a:solidFill>
                      <a:schemeClr val="tx2">
                        <a:lumMod val="20000"/>
                        <a:lumOff val="80000"/>
                      </a:schemeClr>
                    </a:solidFill>
                  </a:tcPr>
                </a:tc>
                <a:extLst>
                  <a:ext uri="{0D108BD9-81ED-4DB2-BD59-A6C34878D82A}">
                    <a16:rowId xmlns:a16="http://schemas.microsoft.com/office/drawing/2014/main" val="10001"/>
                  </a:ext>
                </a:extLst>
              </a:tr>
            </a:tbl>
          </a:graphicData>
        </a:graphic>
      </p:graphicFrame>
      <p:sp>
        <p:nvSpPr>
          <p:cNvPr id="19" name="Rectangle 46"/>
          <p:cNvSpPr>
            <a:spLocks noChangeArrowheads="1"/>
          </p:cNvSpPr>
          <p:nvPr>
            <p:custDataLst>
              <p:tags r:id="rId4"/>
            </p:custDataLst>
          </p:nvPr>
        </p:nvSpPr>
        <p:spPr bwMode="gray">
          <a:xfrm>
            <a:off x="7223238" y="1021809"/>
            <a:ext cx="1948756" cy="466666"/>
          </a:xfrm>
          <a:prstGeom prst="rect">
            <a:avLst/>
          </a:prstGeom>
          <a:noFill/>
          <a:ln w="9525" algn="ctr">
            <a:noFill/>
            <a:miter lim="800000"/>
            <a:headEnd/>
            <a:tailEnd/>
          </a:ln>
          <a:effectLst/>
        </p:spPr>
        <p:txBody>
          <a:bodyPr wrap="square" lIns="0" tIns="0" rIns="0" bIns="0" anchor="b">
            <a:spAutoFit/>
          </a:bodyPr>
          <a:lstStyle/>
          <a:p>
            <a:pPr algn="ctr">
              <a:defRPr/>
            </a:pPr>
            <a:r>
              <a:rPr lang="en-US" sz="1011" b="1" dirty="0">
                <a:solidFill>
                  <a:srgbClr val="FF0000"/>
                </a:solidFill>
                <a:latin typeface="Arial"/>
                <a:cs typeface="Arial" charset="0"/>
              </a:rPr>
              <a:t>*2021+</a:t>
            </a:r>
          </a:p>
          <a:p>
            <a:pPr>
              <a:defRPr/>
            </a:pPr>
            <a:r>
              <a:rPr lang="nl-NL" sz="1011" b="1" dirty="0">
                <a:solidFill>
                  <a:srgbClr val="FF0000"/>
                </a:solidFill>
                <a:latin typeface="Arial"/>
                <a:cs typeface="Arial" charset="0"/>
              </a:rPr>
              <a:t>Phase 3 = Focus on Exposure Mgmt &amp; Credit/Coll/Dispute </a:t>
            </a:r>
          </a:p>
        </p:txBody>
      </p:sp>
      <p:sp>
        <p:nvSpPr>
          <p:cNvPr id="20" name="Cloud 19"/>
          <p:cNvSpPr/>
          <p:nvPr/>
        </p:nvSpPr>
        <p:spPr bwMode="gray">
          <a:xfrm>
            <a:off x="6971212" y="1532487"/>
            <a:ext cx="2013325" cy="1079304"/>
          </a:xfrm>
          <a:prstGeom prst="cloud">
            <a:avLst/>
          </a:prstGeom>
          <a:solidFill>
            <a:srgbClr val="FFFFFF"/>
          </a:solidFill>
          <a:ln w="12700" algn="ctr">
            <a:solidFill>
              <a:srgbClr val="0070C0"/>
            </a:solidFill>
            <a:miter lim="800000"/>
            <a:headEnd/>
            <a:tailEnd/>
          </a:ln>
          <a:effectLst>
            <a:outerShdw blurRad="50800" dist="38100" dir="2700000" algn="tl" rotWithShape="0">
              <a:prstClr val="black">
                <a:alpha val="40000"/>
              </a:prstClr>
            </a:outerShdw>
          </a:effectLst>
        </p:spPr>
        <p:txBody>
          <a:bodyPr lIns="0" tIns="0" rIns="0" bIns="0" rtlCol="0" anchor="t"/>
          <a:lstStyle/>
          <a:p>
            <a:pPr marL="171450" indent="-171450">
              <a:buFontTx/>
              <a:buChar char="-"/>
              <a:defRPr/>
            </a:pPr>
            <a:r>
              <a:rPr lang="en-US" sz="900" dirty="0">
                <a:solidFill>
                  <a:srgbClr val="000000"/>
                </a:solidFill>
              </a:rPr>
              <a:t>Implement S/4HANA to improve:</a:t>
            </a:r>
          </a:p>
          <a:p>
            <a:pPr marL="344488" lvl="1" indent="-112713">
              <a:buFont typeface="Arial" panose="020B0604020202020204" pitchFamily="34" charset="0"/>
              <a:buChar char="•"/>
              <a:defRPr/>
            </a:pPr>
            <a:r>
              <a:rPr lang="en-US" sz="800" dirty="0">
                <a:solidFill>
                  <a:srgbClr val="000000"/>
                </a:solidFill>
              </a:rPr>
              <a:t>Hedging</a:t>
            </a:r>
          </a:p>
          <a:p>
            <a:pPr marL="344488" lvl="1" indent="-112713">
              <a:buFont typeface="Arial" panose="020B0604020202020204" pitchFamily="34" charset="0"/>
              <a:buChar char="•"/>
              <a:defRPr/>
            </a:pPr>
            <a:r>
              <a:rPr lang="en-US" sz="800" dirty="0">
                <a:solidFill>
                  <a:srgbClr val="000000"/>
                </a:solidFill>
              </a:rPr>
              <a:t>Credit/Coll/ Disputes</a:t>
            </a:r>
          </a:p>
          <a:p>
            <a:pPr marL="171450" indent="-171450">
              <a:buFont typeface="Arial" panose="020B0604020202020204" pitchFamily="34" charset="0"/>
              <a:buChar char="–"/>
              <a:defRPr/>
            </a:pPr>
            <a:r>
              <a:rPr lang="en-US" sz="900" dirty="0">
                <a:solidFill>
                  <a:srgbClr val="000000"/>
                </a:solidFill>
              </a:rPr>
              <a:t>Convert cash / bank functions to S/4HANA</a:t>
            </a:r>
          </a:p>
        </p:txBody>
      </p:sp>
      <p:sp>
        <p:nvSpPr>
          <p:cNvPr id="21" name="Arc 44"/>
          <p:cNvSpPr>
            <a:spLocks/>
          </p:cNvSpPr>
          <p:nvPr/>
        </p:nvSpPr>
        <p:spPr bwMode="gray">
          <a:xfrm>
            <a:off x="6941711" y="1482217"/>
            <a:ext cx="2119307" cy="425644"/>
          </a:xfrm>
          <a:custGeom>
            <a:avLst/>
            <a:gdLst>
              <a:gd name="G0" fmla="+- 19723 0 0"/>
              <a:gd name="G1" fmla="+- 21600 0 0"/>
              <a:gd name="G2" fmla="+- 21600 0 0"/>
              <a:gd name="T0" fmla="*/ 0 w 21286"/>
              <a:gd name="T1" fmla="*/ 12792 h 21600"/>
              <a:gd name="T2" fmla="*/ 21286 w 21286"/>
              <a:gd name="T3" fmla="*/ 57 h 21600"/>
              <a:gd name="T4" fmla="*/ 19723 w 21286"/>
              <a:gd name="T5" fmla="*/ 21600 h 21600"/>
            </a:gdLst>
            <a:ahLst/>
            <a:cxnLst>
              <a:cxn ang="0">
                <a:pos x="T0" y="T1"/>
              </a:cxn>
              <a:cxn ang="0">
                <a:pos x="T2" y="T3"/>
              </a:cxn>
              <a:cxn ang="0">
                <a:pos x="T4" y="T5"/>
              </a:cxn>
            </a:cxnLst>
            <a:rect l="0" t="0" r="r" b="b"/>
            <a:pathLst>
              <a:path w="21286" h="21600" fill="none" extrusionOk="0">
                <a:moveTo>
                  <a:pt x="0" y="12792"/>
                </a:moveTo>
                <a:cubicBezTo>
                  <a:pt x="3475" y="5010"/>
                  <a:pt x="11200" y="-1"/>
                  <a:pt x="19723" y="0"/>
                </a:cubicBezTo>
                <a:cubicBezTo>
                  <a:pt x="20244" y="0"/>
                  <a:pt x="20765" y="18"/>
                  <a:pt x="21286" y="56"/>
                </a:cubicBezTo>
              </a:path>
              <a:path w="21286" h="21600" stroke="0" extrusionOk="0">
                <a:moveTo>
                  <a:pt x="0" y="12792"/>
                </a:moveTo>
                <a:cubicBezTo>
                  <a:pt x="3475" y="5010"/>
                  <a:pt x="11200" y="-1"/>
                  <a:pt x="19723" y="0"/>
                </a:cubicBezTo>
                <a:cubicBezTo>
                  <a:pt x="20244" y="0"/>
                  <a:pt x="20765" y="18"/>
                  <a:pt x="21286" y="56"/>
                </a:cubicBezTo>
                <a:lnTo>
                  <a:pt x="19723" y="21600"/>
                </a:lnTo>
                <a:close/>
              </a:path>
            </a:pathLst>
          </a:custGeom>
          <a:noFill/>
          <a:ln w="38100">
            <a:solidFill>
              <a:srgbClr val="F0AB00"/>
            </a:solidFill>
            <a:round/>
            <a:headEnd/>
            <a:tailEnd/>
          </a:ln>
          <a:effectLst/>
        </p:spPr>
        <p:txBody>
          <a:bodyPr wrap="none" lIns="61227" tIns="30613" rIns="61227" bIns="30613" anchor="ctr"/>
          <a:lstStyle/>
          <a:p>
            <a:pPr defTabSz="685737">
              <a:defRPr/>
            </a:pPr>
            <a:endParaRPr lang="en-US" sz="1011" kern="0" dirty="0">
              <a:solidFill>
                <a:srgbClr val="000000"/>
              </a:solidFill>
              <a:latin typeface="Arial"/>
            </a:endParaRPr>
          </a:p>
        </p:txBody>
      </p:sp>
      <p:sp>
        <p:nvSpPr>
          <p:cNvPr id="4" name="TextBox 3">
            <a:extLst>
              <a:ext uri="{FF2B5EF4-FFF2-40B4-BE49-F238E27FC236}">
                <a16:creationId xmlns:a16="http://schemas.microsoft.com/office/drawing/2014/main" id="{EDD1F5C6-880B-46B7-8D9F-BBCD14154C3C}"/>
              </a:ext>
            </a:extLst>
          </p:cNvPr>
          <p:cNvSpPr txBox="1"/>
          <p:nvPr/>
        </p:nvSpPr>
        <p:spPr>
          <a:xfrm>
            <a:off x="6449005" y="2687419"/>
            <a:ext cx="2390195" cy="646331"/>
          </a:xfrm>
          <a:prstGeom prst="rect">
            <a:avLst/>
          </a:prstGeom>
          <a:noFill/>
          <a:ln>
            <a:solidFill>
              <a:schemeClr val="tx1"/>
            </a:solidFill>
          </a:ln>
        </p:spPr>
        <p:txBody>
          <a:bodyPr wrap="square" rtlCol="0">
            <a:spAutoFit/>
          </a:bodyPr>
          <a:lstStyle/>
          <a:p>
            <a:r>
              <a:rPr lang="en-US" sz="900" dirty="0"/>
              <a:t>*Timing of move to SAP S/4HANA is TBD pending business case development.  Interim solution(s) may be deployed to deliver capabilities.</a:t>
            </a:r>
          </a:p>
        </p:txBody>
      </p:sp>
    </p:spTree>
    <p:extLst>
      <p:ext uri="{BB962C8B-B14F-4D97-AF65-F5344CB8AC3E}">
        <p14:creationId xmlns:p14="http://schemas.microsoft.com/office/powerpoint/2010/main" val="14434628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C5D24-EAD5-453A-8008-2A2CE3B51DDE}"/>
              </a:ext>
            </a:extLst>
          </p:cNvPr>
          <p:cNvSpPr>
            <a:spLocks noGrp="1"/>
          </p:cNvSpPr>
          <p:nvPr>
            <p:ph type="title"/>
          </p:nvPr>
        </p:nvSpPr>
        <p:spPr/>
        <p:txBody>
          <a:bodyPr/>
          <a:lstStyle/>
          <a:p>
            <a:pPr algn="ctr"/>
            <a:r>
              <a:rPr lang="en-US" dirty="0"/>
              <a:t>SAP Cash Flow Forecasting</a:t>
            </a:r>
          </a:p>
        </p:txBody>
      </p:sp>
      <p:sp>
        <p:nvSpPr>
          <p:cNvPr id="3" name="Rectangle 2">
            <a:extLst>
              <a:ext uri="{FF2B5EF4-FFF2-40B4-BE49-F238E27FC236}">
                <a16:creationId xmlns:a16="http://schemas.microsoft.com/office/drawing/2014/main" id="{EB50EBF4-DCE4-4541-859A-9DDF77D26E90}"/>
              </a:ext>
            </a:extLst>
          </p:cNvPr>
          <p:cNvSpPr/>
          <p:nvPr/>
        </p:nvSpPr>
        <p:spPr>
          <a:xfrm>
            <a:off x="152400" y="1200150"/>
            <a:ext cx="8628063" cy="3139321"/>
          </a:xfrm>
          <a:prstGeom prst="rect">
            <a:avLst/>
          </a:prstGeom>
        </p:spPr>
        <p:txBody>
          <a:bodyPr wrap="square">
            <a:spAutoFit/>
          </a:bodyPr>
          <a:lstStyle/>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Benefits</a:t>
            </a:r>
          </a:p>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ll  data needed for CFF available in SAP with due </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Once implemented, easy to bring Cash Positioning into SAP</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No need to pull your SAP data into Excel to report on your balance sheet exposures. </a:t>
            </a:r>
          </a:p>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p>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Problems during Implementation:</a:t>
            </a:r>
          </a:p>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p>
          <a:p>
            <a:pPr marL="342900" marR="0" lvl="0" indent="-342900">
              <a:spcBef>
                <a:spcPts val="0"/>
              </a:spcBef>
              <a:spcAft>
                <a:spcPts val="0"/>
              </a:spcAft>
              <a:buFont typeface="+mj-lt"/>
              <a:buAutoNum type="arabicPeriod"/>
            </a:pPr>
            <a:r>
              <a:rPr lang="en-US" sz="1100" b="1" dirty="0">
                <a:solidFill>
                  <a:srgbClr val="FF0000"/>
                </a:solidFill>
                <a:latin typeface="Arial" panose="020B0604020202020204" pitchFamily="34" charset="0"/>
                <a:ea typeface="Calibri" panose="020F0502020204030204" pitchFamily="34" charset="0"/>
                <a:cs typeface="Arial" panose="020B0604020202020204" pitchFamily="34" charset="0"/>
              </a:rPr>
              <a:t>No Self-Funding </a:t>
            </a: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vailable for implementation</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End Product developed and funded by the expansion project for JAPAC countries</a:t>
            </a:r>
          </a:p>
          <a:p>
            <a:pPr marL="342900" marR="0" lvl="0" indent="-342900">
              <a:spcBef>
                <a:spcPts val="0"/>
              </a:spcBef>
              <a:spcAft>
                <a:spcPts val="0"/>
              </a:spcAft>
              <a:buFont typeface="+mj-lt"/>
              <a:buAutoNum type="arabicPeriod"/>
            </a:pPr>
            <a:r>
              <a:rPr lang="en-US" sz="1100" b="1" dirty="0">
                <a:solidFill>
                  <a:srgbClr val="FF0000"/>
                </a:solidFill>
                <a:latin typeface="Arial" panose="020B0604020202020204" pitchFamily="34" charset="0"/>
                <a:ea typeface="Calibri" panose="020F0502020204030204" pitchFamily="34" charset="0"/>
                <a:cs typeface="Arial" panose="020B0604020202020204" pitchFamily="34" charset="0"/>
              </a:rPr>
              <a:t>Business User and Management not involved </a:t>
            </a: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during implementation</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End Product did not meet requirements</a:t>
            </a:r>
          </a:p>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p>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Resolution:</a:t>
            </a:r>
          </a:p>
          <a:p>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Renewed requirements gathering involving management and business user. </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User friendly design</a:t>
            </a:r>
          </a:p>
          <a:p>
            <a:pPr marL="342900" marR="0" lvl="0" indent="-342900">
              <a:spcBef>
                <a:spcPts val="0"/>
              </a:spcBef>
              <a:spcAft>
                <a:spcPts val="0"/>
              </a:spcAft>
              <a:buFont typeface="+mj-lt"/>
              <a:buAutoNum type="arabicPeriod"/>
            </a:pPr>
            <a:r>
              <a:rPr lang="en-US" sz="1100"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4 months delay for Go Live</a:t>
            </a:r>
          </a:p>
        </p:txBody>
      </p:sp>
    </p:spTree>
    <p:extLst>
      <p:ext uri="{BB962C8B-B14F-4D97-AF65-F5344CB8AC3E}">
        <p14:creationId xmlns:p14="http://schemas.microsoft.com/office/powerpoint/2010/main" val="10265509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Presentation Title (Arial 38pt bold)&amp;quot;&quot;/&gt;&lt;property id=&quot;20307&quot; value=&quot;262&quot;/&gt;&lt;/object&gt;&lt;object type=&quot;3&quot; unique_id=&quot;10005&quot;&gt;&lt;property id=&quot;20148&quot; value=&quot;5&quot;/&gt;&lt;property id=&quot;20300&quot; value=&quot;Slide 2 - &amp;quot;One-Line Title Slide (Arial 32pt bold)&amp;quot;&quot;/&gt;&lt;property id=&quot;20307&quot; value=&quot;263&quot;/&gt;&lt;/object&gt;&lt;object type=&quot;3&quot; unique_id=&quot;10006&quot;&gt;&lt;property id=&quot;20148&quot; value=&quot;5&quot;/&gt;&lt;property id=&quot;20300&quot; value=&quot;Slide 3 - &amp;quot;Two-Line Title Slide With &amp;#x0D;&amp;#x0A;a Subtitle Placeholder&amp;quot;&quot;/&gt;&lt;property id=&quot;20307&quot; value=&quot;264&quot;/&gt;&lt;/object&gt;&lt;object type=&quot;3&quot; unique_id=&quot;10007&quot;&gt;&lt;property id=&quot;20148&quot; value=&quot;5&quot;/&gt;&lt;property id=&quot;20300&quot; value=&quot;Slide 4 - &amp;quot;Single Photo Treatment&amp;quot;&quot;/&gt;&lt;property id=&quot;20307&quot; value=&quot;284&quot;/&gt;&lt;/object&gt;&lt;object type=&quot;3&quot; unique_id=&quot;10009&quot;&gt;&lt;property id=&quot;20148&quot; value=&quot;5&quot;/&gt;&lt;property id=&quot;20300&quot; value=&quot;Slide 6 - &amp;quot;Two-Content Subtitle Layout&amp;quot;&quot;/&gt;&lt;property id=&quot;20307&quot; value=&quot;285&quot;/&gt;&lt;/object&gt;&lt;object type=&quot;3&quot; unique_id=&quot;10010&quot;&gt;&lt;property id=&quot;20148&quot; value=&quot;5&quot;/&gt;&lt;property id=&quot;20300&quot; value=&quot;Slide 7 - &amp;quot;Table Example&amp;quot;&quot;/&gt;&lt;property id=&quot;20307&quot; value=&quot;265&quot;/&gt;&lt;/object&gt;&lt;object type=&quot;3&quot; unique_id=&quot;10011&quot;&gt;&lt;property id=&quot;20148&quot; value=&quot;5&quot;/&gt;&lt;property id=&quot;20300&quot; value=&quot;Slide 8 - &amp;quot;Pie Chart Example&amp;quot;&quot;/&gt;&lt;property id=&quot;20307&quot; value=&quot;283&quot;/&gt;&lt;/object&gt;&lt;object type=&quot;3&quot; unique_id=&quot;10012&quot;&gt;&lt;property id=&quot;20148&quot; value=&quot;5&quot;/&gt;&lt;property id=&quot;20300&quot; value=&quot;Slide 9 - &amp;quot;Pie Chart Example&amp;quot;&quot;/&gt;&lt;property id=&quot;20307&quot; value=&quot;300&quot;/&gt;&lt;/object&gt;&lt;object type=&quot;3&quot; unique_id=&quot;10013&quot;&gt;&lt;property id=&quot;20148&quot; value=&quot;5&quot;/&gt;&lt;property id=&quot;20300&quot; value=&quot;Slide 10 - &amp;quot;Column Chart Example&amp;quot;&quot;/&gt;&lt;property id=&quot;20307&quot; value=&quot;279&quot;/&gt;&lt;/object&gt;&lt;object type=&quot;3&quot; unique_id=&quot;10014&quot;&gt;&lt;property id=&quot;20148&quot; value=&quot;5&quot;/&gt;&lt;property id=&quot;20300&quot; value=&quot;Slide 11 - &amp;quot;Line Chart Example&amp;quot;&quot;/&gt;&lt;property id=&quot;20307&quot; value=&quot;278&quot;/&gt;&lt;/object&gt;&lt;object type=&quot;3&quot; unique_id=&quot;10015&quot;&gt;&lt;property id=&quot;20148&quot; value=&quot;5&quot;/&gt;&lt;property id=&quot;20300&quot; value=&quot;Slide 12 - &amp;quot;Presentation Master Color Palette&amp;quot;&quot;/&gt;&lt;property id=&quot;20307&quot; value=&quot;287&quot;/&gt;&lt;/object&gt;&lt;object type=&quot;3&quot; unique_id=&quot;10018&quot;&gt;&lt;property id=&quot;20148&quot; value=&quot;5&quot;/&gt;&lt;property id=&quot;20300&quot; value=&quot;Slide 15 - &amp;quot;Working With the Amgen Color Palette&amp;quot;&quot;/&gt;&lt;property id=&quot;20307&quot; value=&quot;289&quot;/&gt;&lt;/object&gt;&lt;object type=&quot;3&quot; unique_id=&quot;10019&quot;&gt;&lt;property id=&quot;20148&quot; value=&quot;5&quot;/&gt;&lt;property id=&quot;20300&quot; value=&quot;Slide 16 - &amp;quot;Formatting Slides&amp;quot;&quot;/&gt;&lt;property id=&quot;20307&quot; value=&quot;298&quot;/&gt;&lt;/object&gt;&lt;object type=&quot;3&quot; unique_id=&quot;10020&quot;&gt;&lt;property id=&quot;20148&quot; value=&quot;5&quot;/&gt;&lt;property id=&quot;20300&quot; value=&quot;Slide 17 - &amp;quot;Selecting Objects&amp;quot;&quot;/&gt;&lt;property id=&quot;20307&quot; value=&quot;296&quot;/&gt;&lt;/object&gt;&lt;object type=&quot;3&quot; unique_id=&quot;10021&quot;&gt;&lt;property id=&quot;20148&quot; value=&quot;5&quot;/&gt;&lt;property id=&quot;20300&quot; value=&quot;Slide 18 - &amp;quot;Working With Objects&amp;quot;&quot;/&gt;&lt;property id=&quot;20307&quot; value=&quot;293&quot;/&gt;&lt;/object&gt;&lt;object type=&quot;3&quot; unique_id=&quot;10022&quot;&gt;&lt;property id=&quot;20148&quot; value=&quot;5&quot;/&gt;&lt;property id=&quot;20300&quot; value=&quot;Slide 19 - &amp;quot;Adjusting Tables&amp;quot;&quot;/&gt;&lt;property id=&quot;20307&quot; value=&quot;297&quot;/&gt;&lt;/object&gt;&lt;object type=&quot;3&quot; unique_id=&quot;10023&quot;&gt;&lt;property id=&quot;20148&quot; value=&quot;5&quot;/&gt;&lt;property id=&quot;20300&quot; value=&quot;Slide 20 - &amp;quot;Streamlining Objects&amp;quot;&quot;/&gt;&lt;property id=&quot;20307&quot; value=&quot;294&quot;/&gt;&lt;/object&gt;&lt;object type=&quot;3&quot; unique_id=&quot;10707&quot;&gt;&lt;property id=&quot;20148&quot; value=&quot;5&quot;/&gt;&lt;property id=&quot;20300&quot; value=&quot;Slide 5 - &amp;quot;Photo Treatment With Label&amp;quot;&quot;/&gt;&lt;property id=&quot;20307&quot; value=&quot;303&quot;/&gt;&lt;/object&gt;&lt;object type=&quot;3&quot; unique_id=&quot;10752&quot;&gt;&lt;property id=&quot;20148&quot; value=&quot;5&quot;/&gt;&lt;property id=&quot;20300&quot; value=&quot;Slide 13 - &amp;quot;We Adapted Our Plan Swiftly&amp;quot;&quot;/&gt;&lt;property id=&quot;20307&quot; value=&quot;304&quot;/&gt;&lt;/object&gt;&lt;object type=&quot;3&quot; unique_id=&quot;10753&quot;&gt;&lt;property id=&quot;20148&quot; value=&quot;5&quot;/&gt;&lt;property id=&quot;20300&quot; value=&quot;Slide 14 - &amp;quot;Our Strategy Positions Us Well&amp;quot;&quot;/&gt;&lt;property id=&quot;20307&quot; value=&quot;305&quot;/&gt;&lt;/object&gt;&lt;/object&gt;&lt;/object&gt;&lt;/database&gt;"/>
  <p:tag name="SECTOMILLISECCONVERTED" val="1"/>
  <p:tag name="THINKCELLPRESENTATIONDONOTDELETE" val="&lt;?xml version=&quot;1.0&quot; encoding=&quot;UTF-16&quot; standalone=&quot;yes&quot;?&gt;&lt;root reqver=&quot;23045&quot;&gt;&lt;version val=&quot;2419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2.53899999999999970000E+000&quot;&gt;&lt;m_msothmcolidx val=&quot;0&quot;/&gt;&lt;m_rgb r=&quot;FA&quot; g=&quot;07&quot; b=&quot;01&quot;/&gt;&lt;m_nBrightness val=&quot;0&quot;/&gt;&lt;/elem&gt;&lt;elem m_fUsage=&quot;9.00000000000000020000E-001&quot;&gt;&lt;m_msothmcolidx val=&quot;0&quot;/&gt;&lt;m_rgb r=&quot;FE&quot; g=&quot;DF&quot; b=&quot;0A&quot;/&gt;&lt;m_nBrightness val=&quot;0&quot;/&gt;&lt;/elem&gt;&lt;elem m_fUsage=&quot;6.56100000000000130000E-001&quot;&gt;&lt;m_msothmcolidx val=&quot;0&quot;/&gt;&lt;m_rgb r=&quot;FB&quot; g=&quot;E2&quot; b=&quot;8C&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Amgen Proprietary - Confidential"/>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LTOP" val=" 208.75"/>
  <p:tag name="LLEFT" val=" 144"/>
</p:tagLst>
</file>

<file path=ppt/tags/tag46.xml><?xml version="1.0" encoding="utf-8"?>
<p:tagLst xmlns:a="http://schemas.openxmlformats.org/drawingml/2006/main" xmlns:r="http://schemas.openxmlformats.org/officeDocument/2006/relationships" xmlns:p="http://schemas.openxmlformats.org/presentationml/2006/main">
  <p:tag name="LLEFT" val=" 144"/>
  <p:tag name="LTOP" val=" 208.75"/>
</p:tagLst>
</file>

<file path=ppt/tags/tag47.xml><?xml version="1.0" encoding="utf-8"?>
<p:tagLst xmlns:a="http://schemas.openxmlformats.org/drawingml/2006/main" xmlns:r="http://schemas.openxmlformats.org/officeDocument/2006/relationships" xmlns:p="http://schemas.openxmlformats.org/presentationml/2006/main">
  <p:tag name="LLEFT" val=" 144"/>
  <p:tag name="LTOP" val=" 208.75"/>
</p:tagLst>
</file>

<file path=ppt/tags/tag48.xml><?xml version="1.0" encoding="utf-8"?>
<p:tagLst xmlns:a="http://schemas.openxmlformats.org/drawingml/2006/main" xmlns:r="http://schemas.openxmlformats.org/officeDocument/2006/relationships" xmlns:p="http://schemas.openxmlformats.org/presentationml/2006/main">
  <p:tag name="LLEFT" val=" 144"/>
  <p:tag name="LTOP" val=" 20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0.xml><?xml version="1.0" encoding="utf-8"?>
<a:theme xmlns:a="http://schemas.openxmlformats.org/drawingml/2006/main" name="9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1.xml><?xml version="1.0" encoding="utf-8"?>
<a:theme xmlns:a="http://schemas.openxmlformats.org/drawingml/2006/main" name="10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2.xml><?xml version="1.0" encoding="utf-8"?>
<a:theme xmlns:a="http://schemas.openxmlformats.org/drawingml/2006/main" name="11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3.xml><?xml version="1.0" encoding="utf-8"?>
<a:theme xmlns:a="http://schemas.openxmlformats.org/drawingml/2006/main" name="ERP operating review 2015">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4.xml><?xml version="1.0" encoding="utf-8"?>
<a:theme xmlns:a="http://schemas.openxmlformats.org/drawingml/2006/main" name="12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5.xml><?xml version="1.0" encoding="utf-8"?>
<a:theme xmlns:a="http://schemas.openxmlformats.org/drawingml/2006/main" name="13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6.xml><?xml version="1.0" encoding="utf-8"?>
<a:theme xmlns:a="http://schemas.openxmlformats.org/drawingml/2006/main" name="2016 Japan Sourcing Plan (Draft)">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7.xml><?xml version="1.0" encoding="utf-8"?>
<a:theme xmlns:a="http://schemas.openxmlformats.org/drawingml/2006/main" name="1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8.xml><?xml version="1.0" encoding="utf-8"?>
<a:theme xmlns:a="http://schemas.openxmlformats.org/drawingml/2006/main" name="1_Amgen-Internal2016">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19.xml><?xml version="1.0" encoding="utf-8"?>
<a:theme xmlns:a="http://schemas.openxmlformats.org/drawingml/2006/main" name="14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2016 Amgen Corporate Template_16x9_INTERNAL.potx" id="{67FEBBDA-3346-4219-9EA0-54372B04EB3F}" vid="{D5C65901-F499-476B-8CCB-E37B3DF3FA0A}"/>
    </a:ext>
  </a:extLst>
</a:theme>
</file>

<file path=ppt/theme/theme2.xml><?xml version="1.0" encoding="utf-8"?>
<a:theme xmlns:a="http://schemas.openxmlformats.org/drawingml/2006/main" name="1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20.xml><?xml version="1.0" encoding="utf-8"?>
<a:theme xmlns:a="http://schemas.openxmlformats.org/drawingml/2006/main" name="15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2016 Amgen Corporate Template_16x9_INTERNAL.potx" id="{67FEBBDA-3346-4219-9EA0-54372B04EB3F}" vid="{D5C65901-F499-476B-8CCB-E37B3DF3FA0A}"/>
    </a:ext>
  </a:extLst>
</a:theme>
</file>

<file path=ppt/theme/theme21.xml><?xml version="1.0" encoding="utf-8"?>
<a:theme xmlns:a="http://schemas.openxmlformats.org/drawingml/2006/main" name="16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22.xml><?xml version="1.0" encoding="utf-8"?>
<a:theme xmlns:a="http://schemas.openxmlformats.org/drawingml/2006/main" name="Office Theme">
  <a:themeElements>
    <a:clrScheme name="Amgen Theme">
      <a:dk1>
        <a:srgbClr val="000000"/>
      </a:dk1>
      <a:lt1>
        <a:srgbClr val="FFFFFF"/>
      </a:lt1>
      <a:dk2>
        <a:srgbClr val="777777"/>
      </a:dk2>
      <a:lt2>
        <a:srgbClr val="C0C0C0"/>
      </a:lt2>
      <a:accent1>
        <a:srgbClr val="007CC2"/>
      </a:accent1>
      <a:accent2>
        <a:srgbClr val="FCC30C"/>
      </a:accent2>
      <a:accent3>
        <a:srgbClr val="42865C"/>
      </a:accent3>
      <a:accent4>
        <a:srgbClr val="C0362C"/>
      </a:accent4>
      <a:accent5>
        <a:srgbClr val="003161"/>
      </a:accent5>
      <a:accent6>
        <a:srgbClr val="81B5E2"/>
      </a:accent6>
      <a:hlink>
        <a:srgbClr val="007CC2"/>
      </a:hlink>
      <a:folHlink>
        <a:srgbClr val="81B5E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Amgen">
      <a:dk1>
        <a:sysClr val="windowText" lastClr="000000"/>
      </a:dk1>
      <a:lt1>
        <a:sysClr val="window" lastClr="FFFFFF"/>
      </a:lt1>
      <a:dk2>
        <a:srgbClr val="868686"/>
      </a:dk2>
      <a:lt2>
        <a:srgbClr val="2DBCB6"/>
      </a:lt2>
      <a:accent1>
        <a:srgbClr val="00A3C4"/>
      </a:accent1>
      <a:accent2>
        <a:srgbClr val="F3CC63"/>
      </a:accent2>
      <a:accent3>
        <a:srgbClr val="95CB6E"/>
      </a:accent3>
      <a:accent4>
        <a:srgbClr val="D14D2A"/>
      </a:accent4>
      <a:accent5>
        <a:srgbClr val="EC951A"/>
      </a:accent5>
      <a:accent6>
        <a:srgbClr val="0063C3"/>
      </a:accent6>
      <a:hlink>
        <a:srgbClr val="00A3C4"/>
      </a:hlink>
      <a:folHlink>
        <a:srgbClr val="2DBCB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4.xml><?xml version="1.0" encoding="utf-8"?>
<a:theme xmlns:a="http://schemas.openxmlformats.org/drawingml/2006/main" name="3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5.xml><?xml version="1.0" encoding="utf-8"?>
<a:theme xmlns:a="http://schemas.openxmlformats.org/drawingml/2006/main" name="4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6.xml><?xml version="1.0" encoding="utf-8"?>
<a:theme xmlns:a="http://schemas.openxmlformats.org/drawingml/2006/main" name="5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7.xml><?xml version="1.0" encoding="utf-8"?>
<a:theme xmlns:a="http://schemas.openxmlformats.org/drawingml/2006/main" name="6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8.xml><?xml version="1.0" encoding="utf-8"?>
<a:theme xmlns:a="http://schemas.openxmlformats.org/drawingml/2006/main" name="7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ppt/theme/theme9.xml><?xml version="1.0" encoding="utf-8"?>
<a:theme xmlns:a="http://schemas.openxmlformats.org/drawingml/2006/main" name="8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Merged" id="{3C33D98D-F191-47DF-AE88-E5F60A310B5F}" vid="{3634DB5A-F9D2-4AD2-89E0-08CC178FB05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5A539D6BCB17C4E836A7101769135F0" ma:contentTypeVersion="10" ma:contentTypeDescription="Create a new document." ma:contentTypeScope="" ma:versionID="092fabfb45fe61c42884fdc477fc9baf">
  <xsd:schema xmlns:xsd="http://www.w3.org/2001/XMLSchema" xmlns:xs="http://www.w3.org/2001/XMLSchema" xmlns:p="http://schemas.microsoft.com/office/2006/metadata/properties" xmlns:ns2="50361cf4-3c05-49fa-8a4d-8589ce0159b7" xmlns:ns3="948f2fef-33ff-4099-9084-249dfa79a80c" targetNamespace="http://schemas.microsoft.com/office/2006/metadata/properties" ma:root="true" ma:fieldsID="c0b8e7990266c46434dfc5f0d4c2aa03" ns2:_="" ns3:_="">
    <xsd:import namespace="50361cf4-3c05-49fa-8a4d-8589ce0159b7"/>
    <xsd:import namespace="948f2fef-33ff-4099-9084-249dfa79a80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361cf4-3c05-49fa-8a4d-8589ce0159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48f2fef-33ff-4099-9084-249dfa79a80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sisl xmlns:xsi="http://www.w3.org/2001/XMLSchema-instance" xmlns:xsd="http://www.w3.org/2001/XMLSchema" xmlns="http://www.boldonjames.com/2008/01/sie/internal/label" sislVersion="0" policy="82ad3a63-90ad-4a46-a3cb-757f4658e205" origin="userSelected">
  <element uid="9036a7a1-5a4f-48d3-b24b-dfdab053dac9" value=""/>
  <element uid="7a8a044a-cfb7-4e91-9265-bc6ac71adbb3" value=""/>
  <element uid="7349a702-6462-4442-88eb-c64cd513835c" value=""/>
</sisl>
</file>

<file path=customXml/itemProps1.xml><?xml version="1.0" encoding="utf-8"?>
<ds:datastoreItem xmlns:ds="http://schemas.openxmlformats.org/officeDocument/2006/customXml" ds:itemID="{B3C56DA5-3A24-49F1-A6D6-AB931E9AD609}">
  <ds:schemaRefs>
    <ds:schemaRef ds:uri="http://schemas.microsoft.com/sharepoint/v3/contenttype/forms"/>
  </ds:schemaRefs>
</ds:datastoreItem>
</file>

<file path=customXml/itemProps2.xml><?xml version="1.0" encoding="utf-8"?>
<ds:datastoreItem xmlns:ds="http://schemas.openxmlformats.org/officeDocument/2006/customXml" ds:itemID="{9EE9E182-9D07-48A2-8253-3BD6C9CDF16D}"/>
</file>

<file path=customXml/itemProps3.xml><?xml version="1.0" encoding="utf-8"?>
<ds:datastoreItem xmlns:ds="http://schemas.openxmlformats.org/officeDocument/2006/customXml" ds:itemID="{36EF29D6-6F05-45B7-B6C7-DA890F0A48DF}">
  <ds:schemaRefs>
    <ds:schemaRef ds:uri="http://purl.org/dc/elements/1.1/"/>
    <ds:schemaRef ds:uri="http://schemas.microsoft.com/office/2006/metadata/properties"/>
    <ds:schemaRef ds:uri="http://purl.org/dc/terms/"/>
    <ds:schemaRef ds:uri="0bcd1a6c-8b7e-4916-92f1-024fb425be1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A001A276-EB98-4802-8483-459614B0DBB2}">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Amgen_Corporate_Template_16x9_INTERNAL</Template>
  <TotalTime>0</TotalTime>
  <Words>1367</Words>
  <Application>Microsoft Office PowerPoint</Application>
  <PresentationFormat>On-screen Show (16:9)</PresentationFormat>
  <Paragraphs>290</Paragraphs>
  <Slides>19</Slides>
  <Notes>19</Notes>
  <HiddenSlides>0</HiddenSlides>
  <MMClips>4</MMClips>
  <ScaleCrop>false</ScaleCrop>
  <HeadingPairs>
    <vt:vector size="8" baseType="variant">
      <vt:variant>
        <vt:lpstr>Fonts Used</vt:lpstr>
      </vt:variant>
      <vt:variant>
        <vt:i4>5</vt:i4>
      </vt:variant>
      <vt:variant>
        <vt:lpstr>Theme</vt:lpstr>
      </vt:variant>
      <vt:variant>
        <vt:i4>21</vt:i4>
      </vt:variant>
      <vt:variant>
        <vt:lpstr>Embedded OLE Servers</vt:lpstr>
      </vt:variant>
      <vt:variant>
        <vt:i4>1</vt:i4>
      </vt:variant>
      <vt:variant>
        <vt:lpstr>Slide Titles</vt:lpstr>
      </vt:variant>
      <vt:variant>
        <vt:i4>19</vt:i4>
      </vt:variant>
    </vt:vector>
  </HeadingPairs>
  <TitlesOfParts>
    <vt:vector size="46" baseType="lpstr">
      <vt:lpstr>Arial</vt:lpstr>
      <vt:lpstr>Arial Narrow</vt:lpstr>
      <vt:lpstr>Calibri</vt:lpstr>
      <vt:lpstr>Verdana</vt:lpstr>
      <vt:lpstr>Wingdings</vt:lpstr>
      <vt:lpstr>2016 Amgen Corporate Template_16x9_INTERNAL</vt:lpstr>
      <vt:lpstr>1_2016 Amgen Corporate Template_16x9_INTERNAL</vt:lpstr>
      <vt:lpstr>2_2016 Amgen Corporate Template_16x9_INTERNAL</vt:lpstr>
      <vt:lpstr>3_2016 Amgen Corporate Template_16x9_INTERNAL</vt:lpstr>
      <vt:lpstr>4_2016 Amgen Corporate Template_16x9_INTERNAL</vt:lpstr>
      <vt:lpstr>5_2016 Amgen Corporate Template_16x9_INTERNAL</vt:lpstr>
      <vt:lpstr>6_2016 Amgen Corporate Template_16x9_INTERNAL</vt:lpstr>
      <vt:lpstr>7_2016 Amgen Corporate Template_16x9_INTERNAL</vt:lpstr>
      <vt:lpstr>8_2016 Amgen Corporate Template_16x9_INTERNAL</vt:lpstr>
      <vt:lpstr>9_2016 Amgen Corporate Template_16x9_INTERNAL</vt:lpstr>
      <vt:lpstr>10_2016 Amgen Corporate Template_16x9_INTERNAL</vt:lpstr>
      <vt:lpstr>11_2016 Amgen Corporate Template_16x9_INTERNAL</vt:lpstr>
      <vt:lpstr>ERP operating review 2015</vt:lpstr>
      <vt:lpstr>12_2016 Amgen Corporate Template_16x9_INTERNAL</vt:lpstr>
      <vt:lpstr>13_2016 Amgen Corporate Template_16x9_INTERNAL</vt:lpstr>
      <vt:lpstr>2016 Japan Sourcing Plan (Draft)</vt:lpstr>
      <vt:lpstr>1_Internal</vt:lpstr>
      <vt:lpstr>1_Amgen-Internal2016</vt:lpstr>
      <vt:lpstr>14_2016 Amgen Corporate Template_16x9_INTERNAL</vt:lpstr>
      <vt:lpstr>15_2016 Amgen Corporate Template_16x9_INTERNAL</vt:lpstr>
      <vt:lpstr>16_2016 Amgen Corporate Template_16x9_INTERNAL</vt:lpstr>
      <vt:lpstr>think-cell Slide</vt:lpstr>
      <vt:lpstr>Treasury DIGITAL TRANSFORMATION  Brenda Schreuder</vt:lpstr>
      <vt:lpstr>Agenda</vt:lpstr>
      <vt:lpstr>AN introduction to AMGEN</vt:lpstr>
      <vt:lpstr>Amgen treasury organization</vt:lpstr>
      <vt:lpstr>Digital transformation strategy</vt:lpstr>
      <vt:lpstr>Current-state treasury system landscape</vt:lpstr>
      <vt:lpstr>Future-state treasury landscape Enabled by sap s/4hana</vt:lpstr>
      <vt:lpstr>Proposal for Treasury transformation roadmap</vt:lpstr>
      <vt:lpstr>SAP Cash Flow Forecasting</vt:lpstr>
      <vt:lpstr>SAP Cash Flow Forecasting - DEMO</vt:lpstr>
      <vt:lpstr>RPA – ROBotic process automation</vt:lpstr>
      <vt:lpstr>PowerPoint Presentation</vt:lpstr>
      <vt:lpstr>RPA – Most common challenges</vt:lpstr>
      <vt:lpstr>AI – artificial intelligence</vt:lpstr>
      <vt:lpstr>Funding and management buy-in</vt:lpstr>
      <vt:lpstr>Timing of implementation</vt:lpstr>
      <vt:lpstr>WHO and what skill set is required</vt:lpstr>
      <vt:lpstr>Key take away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IU-*$%Finance</cp:keywords>
  <cp:lastModifiedBy/>
  <cp:revision>1</cp:revision>
  <dcterms:created xsi:type="dcterms:W3CDTF">2016-09-14T21:05:41Z</dcterms:created>
  <dcterms:modified xsi:type="dcterms:W3CDTF">2019-11-18T19:3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A539D6BCB17C4E836A7101769135F0</vt:lpwstr>
  </property>
  <property fmtid="{D5CDD505-2E9C-101B-9397-08002B2CF9AE}" pid="3" name="NXPowerLiteLastOptimized">
    <vt:lpwstr>18954392</vt:lpwstr>
  </property>
  <property fmtid="{D5CDD505-2E9C-101B-9397-08002B2CF9AE}" pid="4" name="NXPowerLiteSettings">
    <vt:lpwstr>C7000400038000</vt:lpwstr>
  </property>
  <property fmtid="{D5CDD505-2E9C-101B-9397-08002B2CF9AE}" pid="5" name="NXPowerLiteVersion">
    <vt:lpwstr>S8.2.3</vt:lpwstr>
  </property>
  <property fmtid="{D5CDD505-2E9C-101B-9397-08002B2CF9AE}" pid="6" name="_dlc_DocIdItemGuid">
    <vt:lpwstr>fc7e1c20-12c0-47d8-87d7-cd36f4b18716</vt:lpwstr>
  </property>
  <property fmtid="{D5CDD505-2E9C-101B-9397-08002B2CF9AE}" pid="7" name="bjDocumentLabelXML">
    <vt:lpwstr>&lt;?xml version="1.0" encoding="us-ascii"?&gt;&lt;sisl xmlns:xsi="http://www.w3.org/2001/XMLSchema-instance" xmlns:xsd="http://www.w3.org/2001/XMLSchema" sislVersion="0" policy="82ad3a63-90ad-4a46-a3cb-757f4658e205" origin="userSelected" xmlns="http://www.boldonj</vt:lpwstr>
  </property>
  <property fmtid="{D5CDD505-2E9C-101B-9397-08002B2CF9AE}" pid="8" name="bjDocumentLabelXML-0">
    <vt:lpwstr>ames.com/2008/01/sie/internal/label"&gt;&lt;element uid="9036a7a1-5a4f-48d3-b24b-dfdab053dac9" value="" /&gt;&lt;element uid="7a8a044a-cfb7-4e91-9265-bc6ac71adbb3" value="" /&gt;&lt;element uid="7349a702-6462-4442-88eb-c64cd513835c" value="" /&gt;&lt;/sisl&gt;</vt:lpwstr>
  </property>
  <property fmtid="{D5CDD505-2E9C-101B-9397-08002B2CF9AE}" pid="9" name="bjDocumentSecurityLabel">
    <vt:lpwstr>Internal Use Only - Financial</vt:lpwstr>
  </property>
  <property fmtid="{D5CDD505-2E9C-101B-9397-08002B2CF9AE}" pid="10" name="bjSaver">
    <vt:lpwstr>hGojB3Ic9bG5g+bcbM3IWjS2uicPkX/v</vt:lpwstr>
  </property>
  <property fmtid="{D5CDD505-2E9C-101B-9397-08002B2CF9AE}" pid="11" name="docIndexRef">
    <vt:lpwstr>2b4a474d-97da-44d0-a392-4411dd0ae693</vt:lpwstr>
  </property>
</Properties>
</file>